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68" r:id="rId2"/>
    <p:sldId id="257" r:id="rId3"/>
    <p:sldId id="258" r:id="rId4"/>
    <p:sldId id="264" r:id="rId5"/>
    <p:sldId id="261" r:id="rId6"/>
    <p:sldId id="259" r:id="rId7"/>
    <p:sldId id="267" r:id="rId8"/>
    <p:sldId id="260" r:id="rId9"/>
    <p:sldId id="266" r:id="rId10"/>
    <p:sldId id="269" r:id="rId11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5987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-336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lineChart>
        <c:grouping val="standard"/>
        <c:ser>
          <c:idx val="0"/>
          <c:order val="0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4!$B$26:$B$38</c:f>
              <c:numCache>
                <c:formatCode>General</c:formatCode>
                <c:ptCount val="1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  <c:pt idx="12">
                  <c:v>2031</c:v>
                </c:pt>
              </c:numCache>
            </c:numRef>
          </c:cat>
          <c:val>
            <c:numRef>
              <c:f>Лист4!$C$26:$C$38</c:f>
              <c:numCache>
                <c:formatCode>General</c:formatCode>
                <c:ptCount val="13"/>
                <c:pt idx="0">
                  <c:v>1.536</c:v>
                </c:pt>
                <c:pt idx="1">
                  <c:v>1.591</c:v>
                </c:pt>
                <c:pt idx="2">
                  <c:v>1.6539999999999966</c:v>
                </c:pt>
                <c:pt idx="3">
                  <c:v>1.7200000000000004</c:v>
                </c:pt>
                <c:pt idx="4">
                  <c:v>1.788999999999997</c:v>
                </c:pt>
                <c:pt idx="5">
                  <c:v>1.861</c:v>
                </c:pt>
                <c:pt idx="6">
                  <c:v>1.9349999999999996</c:v>
                </c:pt>
                <c:pt idx="7">
                  <c:v>2.0129999999999977</c:v>
                </c:pt>
                <c:pt idx="8">
                  <c:v>2.093</c:v>
                </c:pt>
                <c:pt idx="9">
                  <c:v>2.177</c:v>
                </c:pt>
                <c:pt idx="10">
                  <c:v>2.2640000000000002</c:v>
                </c:pt>
                <c:pt idx="11">
                  <c:v>2.3549999999999978</c:v>
                </c:pt>
                <c:pt idx="12">
                  <c:v>2.448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B4E-4B42-B20D-12C5D1E8C670}"/>
            </c:ext>
          </c:extLst>
        </c:ser>
        <c:ser>
          <c:idx val="1"/>
          <c:order val="1"/>
          <c:spPr>
            <a:ln>
              <a:solidFill>
                <a:srgbClr val="FFC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4!$B$26:$B$38</c:f>
              <c:numCache>
                <c:formatCode>General</c:formatCode>
                <c:ptCount val="1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  <c:pt idx="12">
                  <c:v>2031</c:v>
                </c:pt>
              </c:numCache>
            </c:numRef>
          </c:cat>
          <c:val>
            <c:numRef>
              <c:f>Лист4!$D$26:$D$38</c:f>
              <c:numCache>
                <c:formatCode>General</c:formatCode>
                <c:ptCount val="13"/>
                <c:pt idx="0">
                  <c:v>1.536</c:v>
                </c:pt>
                <c:pt idx="1">
                  <c:v>2.25</c:v>
                </c:pt>
                <c:pt idx="2">
                  <c:v>2.316999999999994</c:v>
                </c:pt>
                <c:pt idx="3">
                  <c:v>2.3849999999999998</c:v>
                </c:pt>
                <c:pt idx="4">
                  <c:v>2.4569999999999967</c:v>
                </c:pt>
                <c:pt idx="5">
                  <c:v>2.5319999999999987</c:v>
                </c:pt>
                <c:pt idx="6">
                  <c:v>2.609</c:v>
                </c:pt>
                <c:pt idx="7">
                  <c:v>2.6890000000000001</c:v>
                </c:pt>
                <c:pt idx="8">
                  <c:v>2.7730000000000001</c:v>
                </c:pt>
                <c:pt idx="9">
                  <c:v>2.86</c:v>
                </c:pt>
                <c:pt idx="10">
                  <c:v>2.9509999999999987</c:v>
                </c:pt>
                <c:pt idx="11">
                  <c:v>3.0449999999999999</c:v>
                </c:pt>
                <c:pt idx="12">
                  <c:v>3.142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B4E-4B42-B20D-12C5D1E8C670}"/>
            </c:ext>
          </c:extLst>
        </c:ser>
        <c:marker val="1"/>
        <c:axId val="127863808"/>
        <c:axId val="127886080"/>
      </c:lineChart>
      <c:catAx>
        <c:axId val="12786380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7886080"/>
        <c:crosses val="autoZero"/>
        <c:auto val="1"/>
        <c:lblAlgn val="ctr"/>
        <c:lblOffset val="100"/>
      </c:catAx>
      <c:valAx>
        <c:axId val="127886080"/>
        <c:scaling>
          <c:orientation val="minMax"/>
          <c:min val="1.5"/>
        </c:scaling>
        <c:axPos val="l"/>
        <c:numFmt formatCode="General" sourceLinked="1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7863808"/>
        <c:crossesAt val="1"/>
        <c:crossBetween val="between"/>
      </c:valAx>
    </c:plotArea>
    <c:plotVisOnly val="1"/>
    <c:dispBlanksAs val="gap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B8EA48-A7FE-4F4D-9B08-6C6D9D1DEAE0}" type="datetimeFigureOut">
              <a:rPr lang="ru-RU" smtClean="0"/>
              <a:pPr/>
              <a:t>13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FF77BA-9759-443F-9EEA-C833010D06C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EA9244-BEC6-44D9-8B6B-5F4F112E203B}" type="datetimeFigureOut">
              <a:rPr lang="ru-RU" smtClean="0"/>
              <a:pPr/>
              <a:t>13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37555A-17C6-4A9A-AFE0-B07BF84B22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3448295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67210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11135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45740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4574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45740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4574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05210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14092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9612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иаграмма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 hasCustomPrompt="1"/>
          </p:nvPr>
        </p:nvSpPr>
        <p:spPr>
          <a:xfrm>
            <a:off x="695325" y="1268413"/>
            <a:ext cx="10801349" cy="4897437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Диаграмма</a:t>
            </a:r>
            <a:endParaRPr lang="en-US"/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2826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 с картинкой на фоне">
    <p:bg>
      <p:bgPr>
        <a:gradFill>
          <a:gsLst>
            <a:gs pos="95000">
              <a:schemeClr val="accent2">
                <a:alpha val="70000"/>
              </a:schemeClr>
            </a:gs>
            <a:gs pos="5000">
              <a:schemeClr val="accent6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ru-RU" dirty="0"/>
              <a:t>Фоновая картинка</a:t>
            </a:r>
            <a:endParaRPr lang="en-US" dirty="0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5" y="2097088"/>
            <a:ext cx="10188575" cy="7017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smtClean="0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8"/>
            <a:ext cx="7561262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entury Gothic" pitchFamily="34" charset="0"/>
                <a:cs typeface="Century Gothic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6" name="Shape"/>
          <p:cNvSpPr/>
          <p:nvPr userDrawn="1"/>
        </p:nvSpPr>
        <p:spPr>
          <a:xfrm>
            <a:off x="695326" y="692150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6671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51452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876117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61214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28749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48119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665040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72454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37236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4834B8-ECB5-45AF-8CBF-1396A7229D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73029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fondgkh.ru/napravleniya-deyatelnosti/modernizatsiya-kommunalnoy-infrastruktury/metodicheskie-rekomendatsii/finansovaya-podderzhka-modernizatsii-s-2019-goda-v-ramkakh-postanovleniya-pravitelstva-rf-ot-11-02-2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chart" Target="../charts/chart1.xml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906585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4578" name="Слайд think-cell" r:id="rId5" imgW="360" imgH="360" progId="">
              <p:embed/>
            </p:oleObj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793321" y="1562355"/>
            <a:ext cx="10475577" cy="3139321"/>
          </a:xfrm>
        </p:spPr>
        <p:txBody>
          <a:bodyPr/>
          <a:lstStyle/>
          <a:p>
            <a:r>
              <a:rPr lang="ru-RU" dirty="0" smtClean="0"/>
              <a:t>Предоставление финансовой поддержки</a:t>
            </a:r>
            <a:br>
              <a:rPr lang="ru-RU" dirty="0" smtClean="0"/>
            </a:br>
            <a:r>
              <a:rPr lang="ru-RU" dirty="0" smtClean="0"/>
              <a:t>Фонда ЖКХ на реализацию проектов модернизации систем коммунальной инфраструктуры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4185138" y="6013938"/>
            <a:ext cx="35872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entury Gothic" pitchFamily="34" charset="0"/>
              </a:rPr>
              <a:t>2020 </a:t>
            </a:r>
            <a:endParaRPr lang="ru-RU" sz="20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793324" y="4639183"/>
            <a:ext cx="10475577" cy="1036310"/>
          </a:xfrm>
          <a:prstGeom prst="rect">
            <a:avLst/>
          </a:prstGeom>
        </p:spPr>
        <p:txBody>
          <a:bodyPr vert="horz" lIns="90000" tIns="46800" rIns="90000" bIns="468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20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sz="2800" b="1" dirty="0" smtClean="0"/>
              <a:t>Сердюк Ольга Владимировна</a:t>
            </a:r>
          </a:p>
          <a:p>
            <a:r>
              <a:rPr lang="ru-RU" sz="2000" b="1" dirty="0" smtClean="0"/>
              <a:t>Заместитель Генерального директора</a:t>
            </a:r>
          </a:p>
          <a:p>
            <a:r>
              <a:rPr lang="ru-RU" sz="2000" b="1" dirty="0" smtClean="0"/>
              <a:t>Государственная корпорация – Фонд содействия реформированию ЖКХ</a:t>
            </a:r>
          </a:p>
        </p:txBody>
      </p:sp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35412" y="4132134"/>
            <a:ext cx="10102000" cy="308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71202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10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8" name="TextBox 9"/>
          <p:cNvSpPr txBox="1"/>
          <p:nvPr/>
        </p:nvSpPr>
        <p:spPr>
          <a:xfrm>
            <a:off x="1888020" y="2603272"/>
            <a:ext cx="7786029" cy="6588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71450" indent="-171450" algn="ctr">
              <a:lnSpc>
                <a:spcPct val="150000"/>
              </a:lnSpc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СПАСИБО ЗА ВНИМАНИЕ!</a:t>
            </a:r>
          </a:p>
        </p:txBody>
      </p:sp>
      <p:sp>
        <p:nvSpPr>
          <p:cNvPr id="45" name="TextBox 7"/>
          <p:cNvSpPr txBox="1"/>
          <p:nvPr/>
        </p:nvSpPr>
        <p:spPr>
          <a:xfrm>
            <a:off x="546974" y="5624126"/>
            <a:ext cx="10228117" cy="7694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олее подробно ознакомится с условиями финансовой поддержки Фонда проектов модернизации коммунальной инфраструктуры можно на сайте Фонда (перейти по ссылке </a:t>
            </a: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  <a:hlinkClick r:id="rId3"/>
              </a:rPr>
              <a:t>https://fondgkh.ru/napravleniya-deyatelnosti/modernizatsiya-kommunalnoy-infrastruktury/metodicheskie-rekomendatsii/finansovaya-podderzhka-modernizatsii-s-2019-goda-v-ramkakh-postanovleniya-pravitelstva-rf-ot-11-02-2/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>
              <a:defRPr sz="3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sz="11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833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1"/>
          <p:cNvSpPr txBox="1">
            <a:spLocks/>
          </p:cNvSpPr>
          <p:nvPr/>
        </p:nvSpPr>
        <p:spPr>
          <a:xfrm>
            <a:off x="407204" y="25070"/>
            <a:ext cx="9000000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200" b="1" i="0" cap="none" baseline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редоставление финансовой поддержки </a:t>
            </a:r>
            <a:r>
              <a:rPr lang="ru-RU" dirty="0" smtClean="0"/>
              <a:t>Фонда ЖКХ</a:t>
            </a:r>
          </a:p>
          <a:p>
            <a:r>
              <a:rPr lang="ru-RU" dirty="0" smtClean="0"/>
              <a:t>на реализацию проектов МКИ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625821" y="3324596"/>
            <a:ext cx="5516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dirty="0" smtClean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7" name="Picture 2" descr="C:\Users\Пользователь\Desktop\Новая папка\мсх\zaglav_Монтажная область 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2104" y="3101896"/>
            <a:ext cx="2018996" cy="1428524"/>
          </a:xfrm>
          <a:prstGeom prst="rect">
            <a:avLst/>
          </a:prstGeom>
          <a:noFill/>
        </p:spPr>
      </p:pic>
      <p:sp>
        <p:nvSpPr>
          <p:cNvPr id="19" name="TextBox 9"/>
          <p:cNvSpPr txBox="1"/>
          <p:nvPr/>
        </p:nvSpPr>
        <p:spPr>
          <a:xfrm>
            <a:off x="586784" y="1935647"/>
            <a:ext cx="1946044" cy="116954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200" b="1">
                <a:solidFill>
                  <a:schemeClr val="accent1">
                    <a:satOff val="-3547"/>
                    <a:lumOff val="-10352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Участник</a:t>
            </a:r>
            <a:r>
              <a:rPr sz="14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:</a:t>
            </a:r>
            <a:endParaRPr lang="ru-RU" sz="1400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defRPr sz="1200" b="1">
                <a:solidFill>
                  <a:schemeClr val="accent1">
                    <a:satOff val="-3547"/>
                    <a:lumOff val="-10352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/>
            </a:r>
            <a:br>
              <a:rPr sz="140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</a:br>
            <a:r>
              <a:rPr sz="140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Концессионер</a:t>
            </a:r>
            <a:endParaRPr sz="140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defRPr sz="1200" b="1">
                <a:solidFill>
                  <a:schemeClr val="accent1">
                    <a:satOff val="-3547"/>
                    <a:lumOff val="-10352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Унитарное </a:t>
            </a:r>
            <a:r>
              <a:rPr sz="140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предприятие </a:t>
            </a:r>
          </a:p>
        </p:txBody>
      </p:sp>
      <p:sp>
        <p:nvSpPr>
          <p:cNvPr id="21" name="Прямоугольник"/>
          <p:cNvSpPr/>
          <p:nvPr/>
        </p:nvSpPr>
        <p:spPr>
          <a:xfrm>
            <a:off x="3426838" y="1918011"/>
            <a:ext cx="2315803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22" name="Прямоугольник"/>
          <p:cNvSpPr/>
          <p:nvPr/>
        </p:nvSpPr>
        <p:spPr>
          <a:xfrm>
            <a:off x="3426838" y="2509953"/>
            <a:ext cx="2315803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23" name="Прямоугольник"/>
          <p:cNvSpPr/>
          <p:nvPr/>
        </p:nvSpPr>
        <p:spPr>
          <a:xfrm>
            <a:off x="3426838" y="3101896"/>
            <a:ext cx="2315803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24" name="Прямоугольник"/>
          <p:cNvSpPr/>
          <p:nvPr/>
        </p:nvSpPr>
        <p:spPr>
          <a:xfrm>
            <a:off x="3426838" y="3693837"/>
            <a:ext cx="2315803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"/>
          <p:cNvSpPr/>
          <p:nvPr/>
        </p:nvSpPr>
        <p:spPr>
          <a:xfrm>
            <a:off x="3426838" y="4242480"/>
            <a:ext cx="2315803" cy="774356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27" name="TextBox 9"/>
          <p:cNvSpPr txBox="1"/>
          <p:nvPr/>
        </p:nvSpPr>
        <p:spPr>
          <a:xfrm>
            <a:off x="3789408" y="2010329"/>
            <a:ext cx="1589903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400" dirty="0">
                <a:latin typeface="Century Gothic" panose="020B0502020202020204" pitchFamily="34" charset="0"/>
              </a:rPr>
              <a:t>Н</a:t>
            </a:r>
            <a:r>
              <a:rPr lang="ru-RU" sz="1400" dirty="0" smtClean="0">
                <a:latin typeface="Century Gothic" panose="020B0502020202020204" pitchFamily="34" charset="0"/>
              </a:rPr>
              <a:t>е </a:t>
            </a:r>
            <a:r>
              <a:rPr lang="ru-RU" sz="1400" dirty="0">
                <a:latin typeface="Century Gothic" panose="020B0502020202020204" pitchFamily="34" charset="0"/>
              </a:rPr>
              <a:t>менее </a:t>
            </a:r>
            <a:r>
              <a:rPr lang="ru-RU" sz="1400" dirty="0" smtClean="0">
                <a:latin typeface="Century Gothic" panose="020B0502020202020204" pitchFamily="34" charset="0"/>
              </a:rPr>
              <a:t>20</a:t>
            </a:r>
            <a:r>
              <a:rPr lang="ru-RU" sz="1400" dirty="0">
                <a:latin typeface="Century Gothic" panose="020B0502020202020204" pitchFamily="34" charset="0"/>
              </a:rPr>
              <a:t>% </a:t>
            </a:r>
            <a:r>
              <a:rPr sz="1400" dirty="0" smtClean="0">
                <a:latin typeface="Century Gothic" panose="020B0502020202020204" pitchFamily="34" charset="0"/>
              </a:rPr>
              <a:t> </a:t>
            </a:r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28" name="TextBox 9"/>
          <p:cNvSpPr txBox="1"/>
          <p:nvPr/>
        </p:nvSpPr>
        <p:spPr>
          <a:xfrm>
            <a:off x="3906097" y="2602271"/>
            <a:ext cx="1333168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400" dirty="0">
                <a:latin typeface="Century Gothic" panose="020B0502020202020204" pitchFamily="34" charset="0"/>
              </a:rPr>
              <a:t>Н</a:t>
            </a:r>
            <a:r>
              <a:rPr sz="1400" dirty="0" smtClean="0">
                <a:latin typeface="Century Gothic" panose="020B0502020202020204" pitchFamily="34" charset="0"/>
              </a:rPr>
              <a:t>е </a:t>
            </a:r>
            <a:r>
              <a:rPr lang="ru-RU" sz="1400" dirty="0" smtClean="0">
                <a:latin typeface="Century Gothic" panose="020B0502020202020204" pitchFamily="34" charset="0"/>
              </a:rPr>
              <a:t>более</a:t>
            </a:r>
            <a:r>
              <a:rPr sz="1400" dirty="0" smtClean="0">
                <a:latin typeface="Century Gothic" panose="020B0502020202020204" pitchFamily="34" charset="0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</a:rPr>
              <a:t>6</a:t>
            </a:r>
            <a:r>
              <a:rPr sz="1400" dirty="0" smtClean="0">
                <a:latin typeface="Century Gothic" panose="020B0502020202020204" pitchFamily="34" charset="0"/>
              </a:rPr>
              <a:t>0</a:t>
            </a:r>
            <a:r>
              <a:rPr sz="1400" dirty="0">
                <a:latin typeface="Century Gothic" panose="020B0502020202020204" pitchFamily="34" charset="0"/>
              </a:rPr>
              <a:t>% </a:t>
            </a:r>
          </a:p>
        </p:txBody>
      </p:sp>
      <p:sp>
        <p:nvSpPr>
          <p:cNvPr id="29" name="TextBox 9"/>
          <p:cNvSpPr txBox="1"/>
          <p:nvPr/>
        </p:nvSpPr>
        <p:spPr>
          <a:xfrm>
            <a:off x="3701987" y="3194212"/>
            <a:ext cx="1751660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400" dirty="0">
                <a:latin typeface="Century Gothic" panose="020B0502020202020204" pitchFamily="34" charset="0"/>
              </a:rPr>
              <a:t>Д</a:t>
            </a:r>
            <a:r>
              <a:rPr lang="ru-RU" sz="1400" dirty="0" smtClean="0">
                <a:latin typeface="Century Gothic" panose="020B0502020202020204" pitchFamily="34" charset="0"/>
              </a:rPr>
              <a:t>о </a:t>
            </a:r>
            <a:r>
              <a:rPr lang="ru-RU" sz="1400" dirty="0">
                <a:latin typeface="Century Gothic" panose="020B0502020202020204" pitchFamily="34" charset="0"/>
              </a:rPr>
              <a:t>500 тыс.чел. </a:t>
            </a:r>
          </a:p>
        </p:txBody>
      </p:sp>
      <p:sp>
        <p:nvSpPr>
          <p:cNvPr id="31" name="TextBox 9"/>
          <p:cNvSpPr txBox="1"/>
          <p:nvPr/>
        </p:nvSpPr>
        <p:spPr>
          <a:xfrm>
            <a:off x="3701987" y="3757580"/>
            <a:ext cx="1751660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400" dirty="0">
                <a:latin typeface="Century Gothic" panose="020B0502020202020204" pitchFamily="34" charset="0"/>
              </a:rPr>
              <a:t>Н</a:t>
            </a:r>
            <a:r>
              <a:rPr lang="ru-RU" sz="1400" dirty="0" smtClean="0">
                <a:latin typeface="Century Gothic" panose="020B0502020202020204" pitchFamily="34" charset="0"/>
              </a:rPr>
              <a:t>е </a:t>
            </a:r>
            <a:r>
              <a:rPr lang="ru-RU" sz="1400" dirty="0">
                <a:latin typeface="Century Gothic" panose="020B0502020202020204" pitchFamily="34" charset="0"/>
              </a:rPr>
              <a:t>более 3 лет </a:t>
            </a:r>
            <a:endParaRPr sz="1400" dirty="0">
              <a:latin typeface="Century Gothic" panose="020B0502020202020204" pitchFamily="34" charset="0"/>
            </a:endParaRPr>
          </a:p>
        </p:txBody>
      </p:sp>
      <p:sp>
        <p:nvSpPr>
          <p:cNvPr id="33" name="TextBox 9"/>
          <p:cNvSpPr txBox="1"/>
          <p:nvPr/>
        </p:nvSpPr>
        <p:spPr>
          <a:xfrm>
            <a:off x="3588346" y="4282846"/>
            <a:ext cx="1956043" cy="738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400" dirty="0" smtClean="0">
                <a:latin typeface="Century Gothic" panose="020B0502020202020204" pitchFamily="34" charset="0"/>
              </a:rPr>
              <a:t>Готовая документация </a:t>
            </a:r>
            <a:r>
              <a:rPr lang="ru-RU" sz="1400" dirty="0">
                <a:latin typeface="Century Gothic" panose="020B0502020202020204" pitchFamily="34" charset="0"/>
              </a:rPr>
              <a:t>по проекту</a:t>
            </a:r>
          </a:p>
        </p:txBody>
      </p:sp>
      <p:sp>
        <p:nvSpPr>
          <p:cNvPr id="34" name="Линия"/>
          <p:cNvSpPr/>
          <p:nvPr/>
        </p:nvSpPr>
        <p:spPr>
          <a:xfrm flipH="1">
            <a:off x="2570262" y="2169208"/>
            <a:ext cx="930404" cy="930401"/>
          </a:xfrm>
          <a:prstGeom prst="line">
            <a:avLst/>
          </a:prstGeom>
          <a:ln w="25400">
            <a:solidFill>
              <a:schemeClr val="accent1">
                <a:satOff val="-3547"/>
                <a:lumOff val="-10352"/>
              </a:schemeClr>
            </a:solidFill>
            <a:prstDash val="sysDot"/>
            <a:miter lim="400000"/>
          </a:ln>
        </p:spPr>
        <p:txBody>
          <a:bodyPr lIns="45718" tIns="45718" rIns="45718" bIns="45718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35" name="Линия"/>
          <p:cNvSpPr/>
          <p:nvPr/>
        </p:nvSpPr>
        <p:spPr>
          <a:xfrm flipH="1" flipV="1">
            <a:off x="2567268" y="4008707"/>
            <a:ext cx="927080" cy="495553"/>
          </a:xfrm>
          <a:prstGeom prst="line">
            <a:avLst/>
          </a:prstGeom>
          <a:ln w="25400">
            <a:solidFill>
              <a:schemeClr val="accent1">
                <a:satOff val="-3547"/>
                <a:lumOff val="-10352"/>
              </a:schemeClr>
            </a:solidFill>
            <a:prstDash val="sysDot"/>
            <a:miter lim="400000"/>
          </a:ln>
        </p:spPr>
        <p:txBody>
          <a:bodyPr lIns="45718" tIns="45718" rIns="45718" bIns="45718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36" name="Линия"/>
          <p:cNvSpPr/>
          <p:nvPr/>
        </p:nvSpPr>
        <p:spPr>
          <a:xfrm flipH="1" flipV="1">
            <a:off x="2563013" y="3787517"/>
            <a:ext cx="1066605" cy="146570"/>
          </a:xfrm>
          <a:prstGeom prst="line">
            <a:avLst/>
          </a:prstGeom>
          <a:ln w="25400">
            <a:solidFill>
              <a:schemeClr val="accent1">
                <a:satOff val="-3547"/>
                <a:lumOff val="-10352"/>
              </a:schemeClr>
            </a:solidFill>
            <a:prstDash val="sysDot"/>
            <a:miter lim="400000"/>
          </a:ln>
        </p:spPr>
        <p:txBody>
          <a:bodyPr lIns="45718" tIns="45718" rIns="45718" bIns="45718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37" name="Линия"/>
          <p:cNvSpPr/>
          <p:nvPr/>
        </p:nvSpPr>
        <p:spPr>
          <a:xfrm flipH="1">
            <a:off x="2564085" y="3332523"/>
            <a:ext cx="1058328" cy="239553"/>
          </a:xfrm>
          <a:prstGeom prst="line">
            <a:avLst/>
          </a:prstGeom>
          <a:ln w="25400">
            <a:solidFill>
              <a:schemeClr val="accent1">
                <a:satOff val="-3547"/>
                <a:lumOff val="-10352"/>
              </a:schemeClr>
            </a:solidFill>
            <a:prstDash val="sysDot"/>
            <a:miter lim="400000"/>
          </a:ln>
        </p:spPr>
        <p:txBody>
          <a:bodyPr lIns="45718" tIns="45718" rIns="45718" bIns="45718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38" name="Линия"/>
          <p:cNvSpPr/>
          <p:nvPr/>
        </p:nvSpPr>
        <p:spPr>
          <a:xfrm flipH="1">
            <a:off x="2567444" y="2733379"/>
            <a:ext cx="1066689" cy="592000"/>
          </a:xfrm>
          <a:prstGeom prst="line">
            <a:avLst/>
          </a:prstGeom>
          <a:ln w="25400">
            <a:solidFill>
              <a:schemeClr val="accent1">
                <a:satOff val="-3547"/>
                <a:lumOff val="-10352"/>
              </a:schemeClr>
            </a:solidFill>
            <a:prstDash val="sysDot"/>
            <a:miter lim="400000"/>
          </a:ln>
        </p:spPr>
        <p:txBody>
          <a:bodyPr lIns="45718" tIns="45718" rIns="45718" bIns="45718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45" name="TextBox 9"/>
          <p:cNvSpPr txBox="1"/>
          <p:nvPr/>
        </p:nvSpPr>
        <p:spPr>
          <a:xfrm>
            <a:off x="5802890" y="1993540"/>
            <a:ext cx="5912839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400" b="1" dirty="0">
                <a:latin typeface="Century Gothic" panose="020B0502020202020204" pitchFamily="34" charset="0"/>
              </a:rPr>
              <a:t>Доля финансирования проекта за счет средств </a:t>
            </a:r>
            <a:r>
              <a:rPr lang="ru-RU" sz="1400" b="1" dirty="0" smtClean="0">
                <a:latin typeface="Century Gothic" panose="020B0502020202020204" pitchFamily="34" charset="0"/>
              </a:rPr>
              <a:t>участника*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46" name="TextBox 9"/>
          <p:cNvSpPr txBox="1"/>
          <p:nvPr/>
        </p:nvSpPr>
        <p:spPr>
          <a:xfrm>
            <a:off x="5802890" y="2554874"/>
            <a:ext cx="6009703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400" b="1" dirty="0" smtClean="0">
                <a:latin typeface="Century Gothic" panose="020B0502020202020204" pitchFamily="34" charset="0"/>
              </a:rPr>
              <a:t>Доля финансирования проекта за счет средств Фонда ЖКХ</a:t>
            </a:r>
            <a:endParaRPr sz="1400" b="1" dirty="0">
              <a:latin typeface="Century Gothic" panose="020B0502020202020204" pitchFamily="34" charset="0"/>
            </a:endParaRPr>
          </a:p>
        </p:txBody>
      </p:sp>
      <p:sp>
        <p:nvSpPr>
          <p:cNvPr id="48" name="TextBox 9"/>
          <p:cNvSpPr txBox="1"/>
          <p:nvPr/>
        </p:nvSpPr>
        <p:spPr>
          <a:xfrm>
            <a:off x="5802890" y="3061486"/>
            <a:ext cx="5912839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400" b="1" dirty="0">
                <a:latin typeface="Century Gothic" panose="020B0502020202020204" pitchFamily="34" charset="0"/>
              </a:rPr>
              <a:t>Численность населения в каждом из населенных </a:t>
            </a:r>
            <a:r>
              <a:rPr lang="ru-RU" sz="1400" b="1" dirty="0" smtClean="0">
                <a:latin typeface="Century Gothic" panose="020B0502020202020204" pitchFamily="34" charset="0"/>
              </a:rPr>
              <a:t>пунктов,</a:t>
            </a:r>
            <a:endParaRPr lang="ru-RU" sz="1400" b="1" dirty="0">
              <a:latin typeface="Century Gothic" panose="020B0502020202020204" pitchFamily="34" charset="0"/>
            </a:endParaRPr>
          </a:p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400" b="1" dirty="0">
                <a:latin typeface="Century Gothic" panose="020B0502020202020204" pitchFamily="34" charset="0"/>
              </a:rPr>
              <a:t>на территории которых реализуется проект</a:t>
            </a:r>
            <a:endParaRPr sz="1400" b="1" dirty="0">
              <a:latin typeface="Century Gothic" panose="020B0502020202020204" pitchFamily="34" charset="0"/>
            </a:endParaRPr>
          </a:p>
        </p:txBody>
      </p:sp>
      <p:sp>
        <p:nvSpPr>
          <p:cNvPr id="49" name="TextBox 9"/>
          <p:cNvSpPr txBox="1"/>
          <p:nvPr/>
        </p:nvSpPr>
        <p:spPr>
          <a:xfrm>
            <a:off x="5802890" y="3677838"/>
            <a:ext cx="5912839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>
                <a:latin typeface="Century Gothic" panose="020B0502020202020204" pitchFamily="34" charset="0"/>
              </a:rPr>
              <a:t>Максимальный срок создания, реконструкции, модернизации</a:t>
            </a:r>
          </a:p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sz="1400" b="1" dirty="0">
                <a:latin typeface="Century Gothic" panose="020B0502020202020204" pitchFamily="34" charset="0"/>
              </a:rPr>
              <a:t>объектов в рамках проекта</a:t>
            </a:r>
          </a:p>
        </p:txBody>
      </p:sp>
      <p:sp>
        <p:nvSpPr>
          <p:cNvPr id="51" name="TextBox 9"/>
          <p:cNvSpPr txBox="1"/>
          <p:nvPr/>
        </p:nvSpPr>
        <p:spPr>
          <a:xfrm>
            <a:off x="5802890" y="4324867"/>
            <a:ext cx="5912839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400" b="1" dirty="0" smtClean="0">
                <a:latin typeface="Century Gothic" panose="020B0502020202020204" pitchFamily="34" charset="0"/>
              </a:rPr>
              <a:t>Наличие проектной документации с положительным заключением  </a:t>
            </a:r>
            <a:r>
              <a:rPr lang="ru-RU" sz="1400" b="1" dirty="0" err="1" smtClean="0">
                <a:latin typeface="Century Gothic" panose="020B0502020202020204" pitchFamily="34" charset="0"/>
              </a:rPr>
              <a:t>госэкспертизы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52" name="TextBox 9"/>
          <p:cNvSpPr txBox="1"/>
          <p:nvPr/>
        </p:nvSpPr>
        <p:spPr>
          <a:xfrm>
            <a:off x="467548" y="5649810"/>
            <a:ext cx="11724452" cy="4308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100">
                <a:solidFill>
                  <a:schemeClr val="accent1">
                    <a:satOff val="-3547"/>
                    <a:lumOff val="-10352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*Доля участника проекта </a:t>
            </a:r>
            <a:r>
              <a:rPr lang="ru-RU" dirty="0" smtClean="0"/>
              <a:t>и субъекта РФ и/или муниципального образования </a:t>
            </a:r>
            <a:r>
              <a:rPr dirty="0" smtClean="0"/>
              <a:t>должна </a:t>
            </a:r>
            <a:r>
              <a:rPr dirty="0"/>
              <a:t>составлять не менее </a:t>
            </a:r>
            <a:r>
              <a:rPr lang="ru-RU" dirty="0" smtClean="0"/>
              <a:t>4</a:t>
            </a:r>
            <a:r>
              <a:rPr dirty="0" smtClean="0"/>
              <a:t>0</a:t>
            </a:r>
            <a:r>
              <a:rPr dirty="0"/>
              <a:t>%.</a:t>
            </a:r>
          </a:p>
          <a:p>
            <a:pPr>
              <a:defRPr sz="1100">
                <a:solidFill>
                  <a:schemeClr val="accent1">
                    <a:satOff val="-3547"/>
                    <a:lumOff val="-10352"/>
                  </a:schemeClr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Доля субъекта РФ </a:t>
            </a:r>
            <a:r>
              <a:rPr dirty="0" smtClean="0"/>
              <a:t>или </a:t>
            </a:r>
            <a:r>
              <a:rPr dirty="0"/>
              <a:t>муниципального образования может быть полностью или частично замещена средствами участника. 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370025" y="1053336"/>
            <a:ext cx="7554674" cy="556235"/>
            <a:chOff x="386499" y="2140745"/>
            <a:chExt cx="7554674" cy="556235"/>
          </a:xfrm>
        </p:grpSpPr>
        <p:sp>
          <p:nvSpPr>
            <p:cNvPr id="18" name="TextBox 5"/>
            <p:cNvSpPr txBox="1"/>
            <p:nvPr/>
          </p:nvSpPr>
          <p:spPr>
            <a:xfrm>
              <a:off x="633455" y="2149572"/>
              <a:ext cx="7307718" cy="5474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/>
            <a:lstStyle>
              <a:lvl1pPr>
                <a:defRPr sz="2500" b="1">
                  <a:solidFill>
                    <a:schemeClr val="accent1">
                      <a:satOff val="-3547"/>
                      <a:lumOff val="-10352"/>
                    </a:schemeClr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>
                <a:defRPr/>
              </a:pP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Условия предоставления финансовой поддержки</a:t>
              </a:r>
              <a:endParaRPr lang="ru-RU" sz="2000" spc="-30" dirty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Noto Kufi Arabic" panose="020B0506030804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86499" y="2144910"/>
              <a:ext cx="99879" cy="4945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537057" y="2140745"/>
              <a:ext cx="45719" cy="49648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9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2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801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Группа 38"/>
          <p:cNvGrpSpPr/>
          <p:nvPr/>
        </p:nvGrpSpPr>
        <p:grpSpPr>
          <a:xfrm>
            <a:off x="610434" y="934071"/>
            <a:ext cx="7554674" cy="556235"/>
            <a:chOff x="386499" y="2140745"/>
            <a:chExt cx="7554674" cy="556235"/>
          </a:xfrm>
        </p:grpSpPr>
        <p:sp>
          <p:nvSpPr>
            <p:cNvPr id="40" name="TextBox 5"/>
            <p:cNvSpPr txBox="1"/>
            <p:nvPr/>
          </p:nvSpPr>
          <p:spPr>
            <a:xfrm>
              <a:off x="633455" y="2149572"/>
              <a:ext cx="7307718" cy="5474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/>
            <a:lstStyle>
              <a:lvl1pPr>
                <a:defRPr sz="2500" b="1">
                  <a:solidFill>
                    <a:schemeClr val="accent1">
                      <a:satOff val="-3547"/>
                      <a:lumOff val="-10352"/>
                    </a:schemeClr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Возможности </a:t>
              </a: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для  Частного Инвестора</a:t>
              </a:r>
              <a:endParaRPr lang="ru-RU" sz="2000" spc="-30" dirty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Noto Kufi Arabic" panose="020B0506030804020204" pitchFamily="34" charset="0"/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386499" y="2144910"/>
              <a:ext cx="99879" cy="4945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537057" y="2140745"/>
              <a:ext cx="45719" cy="49648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2212876" y="2501364"/>
            <a:ext cx="3187049" cy="3253066"/>
            <a:chOff x="183634" y="1837053"/>
            <a:chExt cx="3187049" cy="3253066"/>
          </a:xfrm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183634" y="1837053"/>
              <a:ext cx="3159104" cy="3253066"/>
            </a:xfrm>
            <a:prstGeom prst="roundRect">
              <a:avLst>
                <a:gd name="adj" fmla="val 10000"/>
              </a:avLst>
            </a:prstGeom>
            <a:ln>
              <a:solidFill>
                <a:srgbClr val="0D5B93"/>
              </a:solidFill>
              <a:prstDash val="sysDot"/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0" name="Скругленный прямоугольник 4"/>
            <p:cNvSpPr txBox="1"/>
            <p:nvPr/>
          </p:nvSpPr>
          <p:spPr>
            <a:xfrm>
              <a:off x="361303" y="2171625"/>
              <a:ext cx="3009380" cy="28436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3825" tIns="123825" rIns="123825" bIns="123825" numCol="1" spcCol="1270" anchor="t" anchorCtr="0">
              <a:noAutofit/>
            </a:bodyPr>
            <a:lstStyle/>
            <a:p>
              <a:pPr marL="57150" lvl="1" indent="-57150" algn="l" defTabSz="466725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050" b="1" kern="1200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114300" lvl="1" indent="-114300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Принятие решения по проекту МАКСИМУМ в течение 45 ДНЕЙ</a:t>
              </a:r>
            </a:p>
            <a:p>
              <a:pPr marL="114300" lvl="1" indent="-114300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200" b="1" kern="1200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114300" lvl="1" indent="-114300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Подписание договора о предоставлении финансовой поддержки возможно СРАЗУ после одобрения заявки</a:t>
              </a:r>
            </a:p>
            <a:p>
              <a:pPr marL="114300" lvl="1" indent="-114300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200" b="1" kern="1200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114300" lvl="1" indent="-114300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Предоставление аванса</a:t>
              </a:r>
            </a:p>
            <a:p>
              <a:pPr marL="0" lvl="1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b="1" dirty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</a:t>
              </a: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</a:t>
              </a: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(до 30% от средств Фонда) </a:t>
              </a:r>
            </a:p>
            <a:p>
              <a:pPr marL="0" lvl="1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  в </a:t>
              </a: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течение </a:t>
              </a: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5 ДНЕЙ после             </a:t>
              </a: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    </a:t>
              </a:r>
            </a:p>
            <a:p>
              <a:pPr marL="0" lvl="1" algn="l" defTabSz="533400">
                <a:lnSpc>
                  <a:spcPts val="14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</a:t>
              </a: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 </a:t>
              </a: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подписание </a:t>
              </a:r>
              <a:r>
                <a:rPr lang="ru-RU" sz="1200" b="1" kern="1200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договора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200" b="1" kern="1200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</p:txBody>
        </p:sp>
      </p:grpSp>
      <p:grpSp>
        <p:nvGrpSpPr>
          <p:cNvPr id="56" name="Группа 55"/>
          <p:cNvGrpSpPr/>
          <p:nvPr/>
        </p:nvGrpSpPr>
        <p:grpSpPr>
          <a:xfrm>
            <a:off x="6758554" y="2444077"/>
            <a:ext cx="3159104" cy="3253066"/>
            <a:chOff x="4005581" y="1489810"/>
            <a:chExt cx="3159104" cy="3253066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4005581" y="1489810"/>
              <a:ext cx="3159104" cy="3253066"/>
            </a:xfrm>
            <a:prstGeom prst="roundRect">
              <a:avLst>
                <a:gd name="adj" fmla="val 10000"/>
              </a:avLst>
            </a:prstGeom>
            <a:ln>
              <a:solidFill>
                <a:srgbClr val="0D5B93"/>
              </a:solidFill>
              <a:prstDash val="sysDot"/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8" name="Скругленный прямоугольник 4"/>
            <p:cNvSpPr txBox="1"/>
            <p:nvPr/>
          </p:nvSpPr>
          <p:spPr>
            <a:xfrm>
              <a:off x="4080443" y="1627432"/>
              <a:ext cx="3009380" cy="2406256"/>
            </a:xfrm>
            <a:prstGeom prst="rect">
              <a:avLst/>
            </a:prstGeom>
            <a:ln>
              <a:noFill/>
              <a:prstDash val="sysDot"/>
            </a:ln>
          </p:spPr>
          <p:style>
            <a:lnRef idx="2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3825" tIns="123825" rIns="123825" bIns="123825" numCol="1" spcCol="1270" anchor="t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000" b="1" kern="1200" dirty="0">
                <a:latin typeface="Century Gothic" panose="020B0502020202020204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000" b="1" kern="1200" dirty="0">
                <a:latin typeface="Century Gothic" panose="020B0502020202020204" pitchFamily="34" charset="0"/>
              </a:endParaRP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000" b="1" kern="1200" dirty="0">
                <a:latin typeface="Century Gothic" panose="020B0502020202020204" pitchFamily="34" charset="0"/>
              </a:endParaRPr>
            </a:p>
            <a:p>
              <a:pPr marL="0" lvl="1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Со средствами Фонда сроки окупаемости снижаются и составляют:</a:t>
              </a:r>
            </a:p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200" b="1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180975" lvl="1" indent="-95250" algn="l" defTabSz="488950">
                <a:lnSpc>
                  <a:spcPct val="90000"/>
                </a:lnSpc>
                <a:spcBef>
                  <a:spcPts val="600"/>
                </a:spcBef>
                <a:buChar char="••"/>
              </a:pP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в сфере </a:t>
              </a: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теплоснабжения  </a:t>
              </a:r>
              <a:endParaRPr lang="ru-RU" sz="1200" b="1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85725" lvl="1" algn="l" defTabSz="488950">
                <a:lnSpc>
                  <a:spcPct val="90000"/>
                </a:lnSpc>
                <a:spcBef>
                  <a:spcPts val="600"/>
                </a:spcBef>
              </a:pPr>
              <a:r>
                <a:rPr lang="ru-RU" sz="1200" b="1" dirty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</a:t>
              </a: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от 6 до 10 лет</a:t>
              </a:r>
            </a:p>
            <a:p>
              <a:pPr marL="85725" lvl="1" algn="l" defTabSz="488950">
                <a:lnSpc>
                  <a:spcPct val="90000"/>
                </a:lnSpc>
                <a:spcBef>
                  <a:spcPts val="600"/>
                </a:spcBef>
              </a:pPr>
              <a:endParaRPr lang="ru-RU" sz="1200" b="1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180975" lvl="1" indent="-95250" algn="l" defTabSz="488950">
                <a:lnSpc>
                  <a:spcPct val="90000"/>
                </a:lnSpc>
                <a:spcBef>
                  <a:spcPts val="600"/>
                </a:spcBef>
                <a:buChar char="••"/>
              </a:pP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в сфере </a:t>
              </a: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водоотведения </a:t>
              </a:r>
              <a:endParaRPr lang="ru-RU" sz="1200" b="1" dirty="0" smtClean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  <a:p>
              <a:pPr marL="85725" lvl="1" algn="l" defTabSz="488950">
                <a:lnSpc>
                  <a:spcPct val="90000"/>
                </a:lnSpc>
                <a:spcBef>
                  <a:spcPts val="600"/>
                </a:spcBef>
              </a:pPr>
              <a:r>
                <a:rPr lang="ru-RU" sz="1200" b="1" dirty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</a:t>
              </a:r>
              <a:r>
                <a:rPr lang="ru-RU" sz="1200" b="1" dirty="0" smtClean="0">
                  <a:solidFill>
                    <a:srgbClr val="0D5B93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 от 7 до 15 лет</a:t>
              </a:r>
              <a:endParaRPr lang="ru-RU" sz="1200" b="1" dirty="0">
                <a:solidFill>
                  <a:srgbClr val="0D5B93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6137200" y="1787613"/>
            <a:ext cx="2305091" cy="1068724"/>
            <a:chOff x="4707605" y="1483808"/>
            <a:chExt cx="2808092" cy="1116685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4707605" y="1483808"/>
              <a:ext cx="2808092" cy="1116685"/>
            </a:xfrm>
            <a:prstGeom prst="roundRect">
              <a:avLst>
                <a:gd name="adj" fmla="val 10000"/>
              </a:avLst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1" name="Скругленный прямоугольник 4"/>
            <p:cNvSpPr txBox="1"/>
            <p:nvPr/>
          </p:nvSpPr>
          <p:spPr>
            <a:xfrm>
              <a:off x="5193772" y="1614394"/>
              <a:ext cx="1958150" cy="9034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dirty="0" smtClean="0">
                  <a:solidFill>
                    <a:schemeClr val="bg1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Сокращение сроков окупаемости проектов</a:t>
              </a:r>
              <a:endParaRPr lang="ru-RU" sz="1400" b="1" dirty="0">
                <a:solidFill>
                  <a:schemeClr val="bg1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1293351" y="1787613"/>
            <a:ext cx="2330805" cy="1085414"/>
            <a:chOff x="1487272" y="-2265469"/>
            <a:chExt cx="2808092" cy="1337787"/>
          </a:xfrm>
        </p:grpSpPr>
        <p:sp>
          <p:nvSpPr>
            <p:cNvPr id="73" name="Скругленный прямоугольник 72"/>
            <p:cNvSpPr/>
            <p:nvPr/>
          </p:nvSpPr>
          <p:spPr>
            <a:xfrm>
              <a:off x="1487272" y="-2265469"/>
              <a:ext cx="2808092" cy="1337787"/>
            </a:xfrm>
            <a:prstGeom prst="roundRect">
              <a:avLst>
                <a:gd name="adj" fmla="val 10000"/>
              </a:avLst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Скругленный прямоугольник 4"/>
            <p:cNvSpPr txBox="1"/>
            <p:nvPr/>
          </p:nvSpPr>
          <p:spPr>
            <a:xfrm>
              <a:off x="1912243" y="-1874366"/>
              <a:ext cx="1958150" cy="9034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4290" tIns="22860" rIns="3429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dirty="0" smtClean="0">
                  <a:solidFill>
                    <a:schemeClr val="bg1"/>
                  </a:solidFill>
                  <a:latin typeface="Century Gothic" panose="020B0502020202020204" pitchFamily="34" charset="0"/>
                  <a:ea typeface="Open Sans Condensed" pitchFamily="34" charset="0"/>
                  <a:cs typeface="Open Sans Condensed" pitchFamily="34" charset="0"/>
                </a:rPr>
                <a:t>Короткие сроки коммерческого и финансового закрытия </a:t>
              </a: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400" b="1" dirty="0">
                <a:solidFill>
                  <a:schemeClr val="bg1"/>
                </a:solidFill>
                <a:latin typeface="Century Gothic" panose="020B0502020202020204" pitchFamily="34" charset="0"/>
                <a:ea typeface="Open Sans Condensed" pitchFamily="34" charset="0"/>
                <a:cs typeface="Open Sans Condensed" pitchFamily="34" charset="0"/>
              </a:endParaRPr>
            </a:p>
          </p:txBody>
        </p:sp>
      </p:grpSp>
      <p:sp>
        <p:nvSpPr>
          <p:cNvPr id="19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3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07204" y="25070"/>
            <a:ext cx="9000000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200" b="1" i="0" cap="none" baseline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редоставление финансовой поддержки </a:t>
            </a:r>
            <a:r>
              <a:rPr lang="ru-RU" dirty="0" smtClean="0"/>
              <a:t>Фонда ЖКХ</a:t>
            </a:r>
          </a:p>
          <a:p>
            <a:r>
              <a:rPr lang="ru-RU" dirty="0" smtClean="0"/>
              <a:t>на реализацию проектов М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48308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558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Прямоугольник"/>
          <p:cNvSpPr/>
          <p:nvPr/>
        </p:nvSpPr>
        <p:spPr>
          <a:xfrm>
            <a:off x="1200915" y="2644322"/>
            <a:ext cx="4257675" cy="440497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endParaRPr sz="1600" dirty="0"/>
          </a:p>
        </p:txBody>
      </p:sp>
      <p:sp>
        <p:nvSpPr>
          <p:cNvPr id="9" name="Прямоугольник"/>
          <p:cNvSpPr/>
          <p:nvPr/>
        </p:nvSpPr>
        <p:spPr>
          <a:xfrm>
            <a:off x="1210441" y="3188639"/>
            <a:ext cx="4248150" cy="543880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"/>
          <p:cNvSpPr/>
          <p:nvPr/>
        </p:nvSpPr>
        <p:spPr>
          <a:xfrm>
            <a:off x="1219965" y="3818244"/>
            <a:ext cx="4238625" cy="525527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11" name="Прямоугольник"/>
          <p:cNvSpPr/>
          <p:nvPr/>
        </p:nvSpPr>
        <p:spPr>
          <a:xfrm>
            <a:off x="6204637" y="3792891"/>
            <a:ext cx="4248150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12" name="TextBox 9"/>
          <p:cNvSpPr txBox="1"/>
          <p:nvPr/>
        </p:nvSpPr>
        <p:spPr>
          <a:xfrm>
            <a:off x="1293341" y="2724787"/>
            <a:ext cx="4036540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/>
              <a:t>ПЛАН КОМПЛЕКСНОГО РАЗВИТИЯ</a:t>
            </a:r>
            <a:endParaRPr lang="ru-RU" dirty="0"/>
          </a:p>
        </p:txBody>
      </p:sp>
      <p:sp>
        <p:nvSpPr>
          <p:cNvPr id="13" name="TextBox 9"/>
          <p:cNvSpPr txBox="1"/>
          <p:nvPr/>
        </p:nvSpPr>
        <p:spPr>
          <a:xfrm>
            <a:off x="1334265" y="3223807"/>
            <a:ext cx="3962401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СХЕМЫ ТЕПЛОСНАБЖЕНИЯ /</a:t>
            </a:r>
          </a:p>
          <a:p>
            <a:r>
              <a:rPr lang="ru-RU" dirty="0" smtClean="0">
                <a:solidFill>
                  <a:srgbClr val="99CC00"/>
                </a:solidFill>
              </a:rPr>
              <a:t>СХЕМЫ ВОДОСНАБЖЕНИЯ И ВОДОООТВЕДЕНИЯ</a:t>
            </a:r>
            <a:endParaRPr dirty="0">
              <a:solidFill>
                <a:srgbClr val="99CC00"/>
              </a:solidFill>
            </a:endParaRPr>
          </a:p>
        </p:txBody>
      </p:sp>
      <p:sp>
        <p:nvSpPr>
          <p:cNvPr id="14" name="TextBox 9"/>
          <p:cNvSpPr txBox="1"/>
          <p:nvPr/>
        </p:nvSpPr>
        <p:spPr>
          <a:xfrm>
            <a:off x="1334265" y="3844323"/>
            <a:ext cx="4152900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defPPr>
              <a:defRPr lang="ru-RU"/>
            </a:defPPr>
            <a:lvl1pPr algn="ctr">
              <a:defRPr sz="1200" b="1">
                <a:solidFill>
                  <a:srgbClr val="99CC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ru-RU" dirty="0"/>
              <a:t>ПРОЕКТНАЯ ДОКУМЕНТАЦИЯ + ПОЛОЖИТЕЛЬНЫЕ ЗАКЛЮЧЕНИЯ ГОСЭКСПЕРТИЗЫ</a:t>
            </a:r>
            <a:endParaRPr dirty="0"/>
          </a:p>
        </p:txBody>
      </p:sp>
      <p:sp>
        <p:nvSpPr>
          <p:cNvPr id="15" name="TextBox 9"/>
          <p:cNvSpPr txBox="1"/>
          <p:nvPr/>
        </p:nvSpPr>
        <p:spPr>
          <a:xfrm>
            <a:off x="6366561" y="3919141"/>
            <a:ext cx="3603473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УТВЕРЖДЕННЫЕ ДПР </a:t>
            </a:r>
            <a:endParaRPr lang="ru-RU" dirty="0">
              <a:solidFill>
                <a:srgbClr val="99CC00"/>
              </a:solidFill>
            </a:endParaRPr>
          </a:p>
        </p:txBody>
      </p:sp>
      <p:sp>
        <p:nvSpPr>
          <p:cNvPr id="16" name="Прямоугольник"/>
          <p:cNvSpPr/>
          <p:nvPr/>
        </p:nvSpPr>
        <p:spPr>
          <a:xfrm>
            <a:off x="6195112" y="3222627"/>
            <a:ext cx="4243820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17" name="TextBox 9"/>
          <p:cNvSpPr txBox="1"/>
          <p:nvPr/>
        </p:nvSpPr>
        <p:spPr>
          <a:xfrm>
            <a:off x="6366561" y="3229218"/>
            <a:ext cx="3561043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КОНЦЕССИОННОЕ СОГЛАШЕНИЕ / ИНВЕСТИЦИОННАЯ ПРОГРАММА</a:t>
            </a:r>
            <a:endParaRPr dirty="0">
              <a:solidFill>
                <a:srgbClr val="99CC00"/>
              </a:solidFill>
            </a:endParaRPr>
          </a:p>
        </p:txBody>
      </p:sp>
      <p:sp>
        <p:nvSpPr>
          <p:cNvPr id="18" name="Прямоугольник"/>
          <p:cNvSpPr/>
          <p:nvPr/>
        </p:nvSpPr>
        <p:spPr>
          <a:xfrm>
            <a:off x="1188815" y="2029965"/>
            <a:ext cx="3086100" cy="448889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lIns="45718" tIns="45718" rIns="45718" bIns="45718" anchor="ctr"/>
          <a:lstStyle/>
          <a:p>
            <a:pPr algn="ctr"/>
            <a:r>
              <a:rPr lang="ru-RU" sz="1400" b="1" dirty="0" smtClean="0">
                <a:solidFill>
                  <a:srgbClr val="FF6600"/>
                </a:solidFill>
                <a:latin typeface="Arial" pitchFamily="34" charset="0"/>
                <a:cs typeface="Arial" pitchFamily="34" charset="0"/>
              </a:rPr>
              <a:t>ТЕХНИЧЕСКАЯ ОБОСНОВАННОСТЬ</a:t>
            </a:r>
          </a:p>
          <a:p>
            <a:pPr algn="ctr"/>
            <a:r>
              <a:rPr lang="ru-RU" sz="1400" b="1" dirty="0" smtClean="0">
                <a:solidFill>
                  <a:srgbClr val="FF6600"/>
                </a:solidFill>
                <a:latin typeface="Arial" pitchFamily="34" charset="0"/>
                <a:cs typeface="Arial" pitchFamily="34" charset="0"/>
              </a:rPr>
              <a:t>ПРОЕКТА</a:t>
            </a:r>
            <a:endParaRPr sz="1400" b="1" dirty="0">
              <a:solidFill>
                <a:srgbClr val="FF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"/>
          <p:cNvSpPr/>
          <p:nvPr/>
        </p:nvSpPr>
        <p:spPr>
          <a:xfrm>
            <a:off x="7093551" y="1786948"/>
            <a:ext cx="3409949" cy="716588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lIns="45718" tIns="45718" rIns="45718" bIns="45718" anchor="ctr"/>
          <a:lstStyle/>
          <a:p>
            <a:pPr algn="ctr"/>
            <a:r>
              <a:rPr lang="ru-RU" sz="1400" b="1" dirty="0" smtClean="0">
                <a:solidFill>
                  <a:srgbClr val="FF6600"/>
                </a:solidFill>
                <a:latin typeface="Arial" pitchFamily="34" charset="0"/>
                <a:cs typeface="Arial" pitchFamily="34" charset="0"/>
              </a:rPr>
              <a:t>ЭКОНОМИЧЕСКАЯ ОБОСНОВАННОСТЬ</a:t>
            </a:r>
          </a:p>
          <a:p>
            <a:pPr algn="ctr"/>
            <a:r>
              <a:rPr lang="ru-RU" sz="1400" b="1" dirty="0" smtClean="0">
                <a:solidFill>
                  <a:srgbClr val="FF6600"/>
                </a:solidFill>
                <a:latin typeface="Arial" pitchFamily="34" charset="0"/>
                <a:cs typeface="Arial" pitchFamily="34" charset="0"/>
              </a:rPr>
              <a:t>ПРОЕКТА</a:t>
            </a:r>
            <a:endParaRPr sz="1400" b="1" dirty="0">
              <a:solidFill>
                <a:srgbClr val="FF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"/>
          <p:cNvSpPr/>
          <p:nvPr/>
        </p:nvSpPr>
        <p:spPr>
          <a:xfrm>
            <a:off x="6195111" y="2619923"/>
            <a:ext cx="4257675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21" name="TextBox 9"/>
          <p:cNvSpPr txBox="1"/>
          <p:nvPr/>
        </p:nvSpPr>
        <p:spPr>
          <a:xfrm>
            <a:off x="6328461" y="2702716"/>
            <a:ext cx="3901044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ФИНМОДЕЛЬ</a:t>
            </a:r>
            <a:endParaRPr dirty="0">
              <a:solidFill>
                <a:srgbClr val="99CC00"/>
              </a:solidFill>
            </a:endParaRPr>
          </a:p>
        </p:txBody>
      </p:sp>
      <p:sp>
        <p:nvSpPr>
          <p:cNvPr id="22" name="Прямоугольник"/>
          <p:cNvSpPr/>
          <p:nvPr/>
        </p:nvSpPr>
        <p:spPr>
          <a:xfrm>
            <a:off x="6195112" y="4373916"/>
            <a:ext cx="4248150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23" name="TextBox 9"/>
          <p:cNvSpPr txBox="1"/>
          <p:nvPr/>
        </p:nvSpPr>
        <p:spPr>
          <a:xfrm>
            <a:off x="6318936" y="4351932"/>
            <a:ext cx="3603473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ПОДТВЕРЖДЕНИЕ НАЛИЧИЯ </a:t>
            </a:r>
          </a:p>
          <a:p>
            <a:r>
              <a:rPr lang="ru-RU" dirty="0" smtClean="0">
                <a:solidFill>
                  <a:srgbClr val="99CC00"/>
                </a:solidFill>
              </a:rPr>
              <a:t>СОБСТВЕННЫХ СРЕДСТВ</a:t>
            </a:r>
            <a:endParaRPr lang="ru-RU" dirty="0">
              <a:solidFill>
                <a:srgbClr val="99CC00"/>
              </a:solidFill>
            </a:endParaRPr>
          </a:p>
        </p:txBody>
      </p:sp>
      <p:sp>
        <p:nvSpPr>
          <p:cNvPr id="24" name="TextBox 9"/>
          <p:cNvSpPr txBox="1"/>
          <p:nvPr/>
        </p:nvSpPr>
        <p:spPr>
          <a:xfrm>
            <a:off x="1343790" y="4511073"/>
            <a:ext cx="4152900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/>
              <a:t>АКТ ТЕХОБСЛЕДОВАНИЯ</a:t>
            </a:r>
            <a:endParaRPr dirty="0"/>
          </a:p>
        </p:txBody>
      </p:sp>
      <p:sp>
        <p:nvSpPr>
          <p:cNvPr id="25" name="Прямоугольник"/>
          <p:cNvSpPr/>
          <p:nvPr/>
        </p:nvSpPr>
        <p:spPr>
          <a:xfrm>
            <a:off x="6195111" y="4942632"/>
            <a:ext cx="4238625" cy="448889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26" name="TextBox 9"/>
          <p:cNvSpPr txBox="1"/>
          <p:nvPr/>
        </p:nvSpPr>
        <p:spPr>
          <a:xfrm>
            <a:off x="6309411" y="4920648"/>
            <a:ext cx="4152900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ПОДТВЕРЖДЕНИЕ НАЛИЧИЯ </a:t>
            </a:r>
          </a:p>
          <a:p>
            <a:r>
              <a:rPr lang="ru-RU" dirty="0" smtClean="0">
                <a:solidFill>
                  <a:srgbClr val="99CC00"/>
                </a:solidFill>
              </a:rPr>
              <a:t>СРЕДСТВ МЕСТНОГО / РЕГИОНАЛЬНОГО БЮДЖЕТА</a:t>
            </a:r>
            <a:endParaRPr dirty="0">
              <a:solidFill>
                <a:srgbClr val="99CC00"/>
              </a:solidFill>
            </a:endParaRPr>
          </a:p>
        </p:txBody>
      </p:sp>
      <p:pic>
        <p:nvPicPr>
          <p:cNvPr id="27" name="Picture 2" descr="http://art-uraltrans.ru/image/31.png"/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93582" y="2001800"/>
            <a:ext cx="695417" cy="492469"/>
          </a:xfrm>
          <a:prstGeom prst="rect">
            <a:avLst/>
          </a:prstGeom>
          <a:noFill/>
        </p:spPr>
      </p:pic>
      <p:pic>
        <p:nvPicPr>
          <p:cNvPr id="28" name="Picture 4" descr="http://krasarmaprom.ru/thumb/2/pTe7cdlDRdi7VMZTaMtpuA/800r600/d/05_26_15_06_32_42_kran_s_ru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298372" y="1911184"/>
            <a:ext cx="1105914" cy="654521"/>
          </a:xfrm>
          <a:prstGeom prst="rect">
            <a:avLst/>
          </a:prstGeom>
          <a:noFill/>
        </p:spPr>
      </p:pic>
      <p:sp>
        <p:nvSpPr>
          <p:cNvPr id="29" name="Прямоугольник"/>
          <p:cNvSpPr/>
          <p:nvPr/>
        </p:nvSpPr>
        <p:spPr>
          <a:xfrm>
            <a:off x="1219965" y="4446894"/>
            <a:ext cx="4238625" cy="581025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30" name="TextBox 9"/>
          <p:cNvSpPr txBox="1"/>
          <p:nvPr/>
        </p:nvSpPr>
        <p:spPr>
          <a:xfrm>
            <a:off x="1305690" y="4520598"/>
            <a:ext cx="4152900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dirty="0" smtClean="0">
                <a:solidFill>
                  <a:srgbClr val="99CC00"/>
                </a:solidFill>
              </a:rPr>
              <a:t>ПРАВОУСТАНАВЛИВАЮЩИЕ ДОКУМЕНТЫ НА ИМУЩЕСТВО И ЗЕМЕЛЬНЫЕ УЧАСТКИ</a:t>
            </a:r>
            <a:endParaRPr dirty="0">
              <a:solidFill>
                <a:srgbClr val="99CC00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841086" y="1049408"/>
            <a:ext cx="11070828" cy="556235"/>
            <a:chOff x="386499" y="2140745"/>
            <a:chExt cx="9357356" cy="556235"/>
          </a:xfrm>
        </p:grpSpPr>
        <p:sp>
          <p:nvSpPr>
            <p:cNvPr id="32" name="TextBox 5"/>
            <p:cNvSpPr txBox="1"/>
            <p:nvPr/>
          </p:nvSpPr>
          <p:spPr>
            <a:xfrm>
              <a:off x="633454" y="2149572"/>
              <a:ext cx="9110401" cy="5474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/>
            <a:lstStyle>
              <a:lvl1pPr>
                <a:defRPr sz="2500" b="1">
                  <a:solidFill>
                    <a:schemeClr val="accent1">
                      <a:satOff val="-3547"/>
                      <a:lumOff val="-10352"/>
                    </a:schemeClr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Ключевые документы в составе заявок в Банк и Фонд идентичны на 80%</a:t>
              </a:r>
              <a:endParaRPr lang="ru-RU" sz="2000" spc="-30" dirty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Noto Kufi Arabic" panose="020B0506030804020204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386499" y="2144910"/>
              <a:ext cx="99879" cy="4945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37057" y="2140745"/>
              <a:ext cx="45719" cy="49648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1209508" y="5717435"/>
            <a:ext cx="97729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100" b="1" i="0" u="none" strike="noStrike" kern="1200" baseline="0">
                <a:solidFill>
                  <a:prstClr val="black"/>
                </a:solidFill>
                <a:latin typeface="Georgia" pitchFamily="18" charset="0"/>
                <a:ea typeface="+mn-ea"/>
                <a:cs typeface="+mn-cs"/>
              </a:defRPr>
            </a:pPr>
            <a:r>
              <a:rPr lang="ru-RU" sz="1200" dirty="0" smtClean="0">
                <a:solidFill>
                  <a:srgbClr val="99CC0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Документы, запрашиваемые и  Банком и Фондом в составе заявок на финансирование </a:t>
            </a:r>
          </a:p>
          <a:p>
            <a:pPr algn="ctr">
              <a:defRPr sz="1100" b="1" i="0" u="none" strike="noStrike" kern="1200" baseline="0">
                <a:solidFill>
                  <a:prstClr val="black"/>
                </a:solidFill>
                <a:latin typeface="Georgia" pitchFamily="18" charset="0"/>
                <a:ea typeface="+mn-ea"/>
                <a:cs typeface="+mn-cs"/>
              </a:defRPr>
            </a:pPr>
            <a:endParaRPr lang="ru-RU" sz="1200" dirty="0" smtClean="0">
              <a:solidFill>
                <a:srgbClr val="99CC00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  <a:p>
            <a:pPr algn="ctr">
              <a:defRPr sz="1100" b="1" i="0" u="none" strike="noStrike" kern="1200" baseline="0">
                <a:solidFill>
                  <a:prstClr val="black"/>
                </a:solidFill>
                <a:latin typeface="Georgia" pitchFamily="18" charset="0"/>
                <a:ea typeface="+mn-ea"/>
                <a:cs typeface="+mn-cs"/>
              </a:defRPr>
            </a:pPr>
            <a:endParaRPr lang="ru-RU" sz="1200" dirty="0" smtClean="0">
              <a:solidFill>
                <a:srgbClr val="99CC00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6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4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>
          <a:xfrm>
            <a:off x="407204" y="25070"/>
            <a:ext cx="9000000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200" b="1" i="0" cap="none" baseline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редоставление финансовой поддержки </a:t>
            </a:r>
            <a:r>
              <a:rPr lang="ru-RU" dirty="0" smtClean="0"/>
              <a:t>Фонда ЖКХ</a:t>
            </a:r>
          </a:p>
          <a:p>
            <a:r>
              <a:rPr lang="ru-RU" dirty="0" smtClean="0"/>
              <a:t>на реализацию проектов М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0359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55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2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731736" y="1787623"/>
            <a:ext cx="9940758" cy="4093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Инициаторы проекта ( Концессионер/МУП, Субъект РФ) определяют  необходимость </a:t>
            </a: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привлечения в проект финансовой поддержки Фонда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ЖКХ и кредита Банка</a:t>
            </a:r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Заемщик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(Концессионер/МУ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)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направляет заявку на предоставление кредита в Банк </a:t>
            </a: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Субъект РФ направляет заявку в Фонд ЖКХ о привлечении средств </a:t>
            </a: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государственной поддержки в проект</a:t>
            </a: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Банк принимает решение о кредитовани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заемщика с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отлагательным условием </a:t>
            </a: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(пр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условии выделения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средств финансовой поддержки  Фонда)</a:t>
            </a: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Заемщик предоставляет в Фонд ЖКХ  кредитный договор с отлагательным условием </a:t>
            </a: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Правление Фонда ЖКХ принимает решение о </a:t>
            </a:r>
            <a:r>
              <a:rPr lang="ru-RU" sz="1400" b="1" dirty="0" err="1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софинансировании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 проекта</a:t>
            </a:r>
          </a:p>
          <a:p>
            <a:pPr marL="342900" indent="-342900"/>
            <a:endParaRPr lang="ru-RU" sz="1400" b="1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Заемщик предоставляет в Банк Соглашение между Фондом ЖКХ и Субъектом РФ </a:t>
            </a:r>
          </a:p>
          <a:p>
            <a:pPr marL="342900" indent="-342900"/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о выделении средств государственной поддержки на цели реализации проекта </a:t>
            </a:r>
          </a:p>
          <a:p>
            <a:endParaRPr lang="ru-RU" sz="14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2182" y="1723531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1 шаг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2182" y="2335285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2 шаг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52182" y="2834429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3 шаг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52182" y="3442819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4 шаг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52182" y="4094361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5 шаг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52182" y="4732792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6 шаг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52182" y="5248410"/>
            <a:ext cx="8073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7 шаг</a:t>
            </a:r>
          </a:p>
        </p:txBody>
      </p:sp>
      <p:sp>
        <p:nvSpPr>
          <p:cNvPr id="15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5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407204" y="25070"/>
            <a:ext cx="9000000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200" b="1" i="0" cap="none" baseline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редоставление финансовой поддержки </a:t>
            </a:r>
            <a:r>
              <a:rPr lang="ru-RU" dirty="0" smtClean="0"/>
              <a:t>Фонда ЖКХ</a:t>
            </a:r>
          </a:p>
          <a:p>
            <a:r>
              <a:rPr lang="ru-RU" dirty="0" smtClean="0"/>
              <a:t>на реализацию проектов МКИ</a:t>
            </a:r>
            <a:endParaRPr lang="ru-RU" dirty="0"/>
          </a:p>
        </p:txBody>
      </p:sp>
      <p:grpSp>
        <p:nvGrpSpPr>
          <p:cNvPr id="17" name="Группа 16"/>
          <p:cNvGrpSpPr/>
          <p:nvPr/>
        </p:nvGrpSpPr>
        <p:grpSpPr>
          <a:xfrm>
            <a:off x="502358" y="991816"/>
            <a:ext cx="11519065" cy="613901"/>
            <a:chOff x="386499" y="2140745"/>
            <a:chExt cx="7554674" cy="613901"/>
          </a:xfrm>
        </p:grpSpPr>
        <p:sp>
          <p:nvSpPr>
            <p:cNvPr id="18" name="TextBox 5"/>
            <p:cNvSpPr txBox="1"/>
            <p:nvPr/>
          </p:nvSpPr>
          <p:spPr>
            <a:xfrm>
              <a:off x="633455" y="2207238"/>
              <a:ext cx="7307718" cy="5474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/>
            <a:lstStyle>
              <a:lvl1pPr>
                <a:defRPr sz="2500" b="1">
                  <a:solidFill>
                    <a:schemeClr val="accent1">
                      <a:satOff val="-3547"/>
                      <a:lumOff val="-10352"/>
                    </a:schemeClr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>
                <a:spcBef>
                  <a:spcPts val="0"/>
                </a:spcBef>
                <a:defRPr/>
              </a:pPr>
              <a:r>
                <a:rPr lang="ru-RU" sz="18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Порядок взаимодействия при совместном </a:t>
              </a:r>
              <a:r>
                <a:rPr lang="ru-RU" sz="18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финансировании </a:t>
              </a:r>
              <a:r>
                <a:rPr lang="ru-RU" sz="18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проектов Банком и Фондом</a:t>
              </a:r>
              <a:endParaRPr lang="ru-RU" sz="1800" spc="-30" dirty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Noto Kufi Arabic" panose="020B0506030804020204" pitchFamily="34" charset="0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86499" y="2144910"/>
              <a:ext cx="99879" cy="4945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37057" y="2140745"/>
              <a:ext cx="45719" cy="49648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2403591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1" name="Слайд think-cell" r:id="rId4" imgW="360" imgH="360" progId="">
              <p:embed/>
            </p:oleObj>
          </a:graphicData>
        </a:graphic>
      </p:graphicFrame>
      <p:sp>
        <p:nvSpPr>
          <p:cNvPr id="4" name="TextBox 9"/>
          <p:cNvSpPr txBox="1"/>
          <p:nvPr/>
        </p:nvSpPr>
        <p:spPr>
          <a:xfrm>
            <a:off x="372554" y="1752411"/>
            <a:ext cx="5857874" cy="26776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Обновление объектов коммунальной инфраструктуры, не 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подпадающих </a:t>
            </a:r>
          </a:p>
          <a:p>
            <a:pPr marL="285750" indent="-285750">
              <a:defRPr/>
            </a:pP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	под  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действующие госпрограммы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endParaRPr lang="ru-RU" sz="1600" b="1" spc="-30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Open Sans Condensed" pitchFamily="34" charset="0"/>
              <a:cs typeface="Arial" pitchFamily="34" charset="0"/>
              <a:sym typeface="Arial"/>
            </a:endParaRP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Реализация проектов в малых и средних городах</a:t>
            </a: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endParaRPr lang="ru-RU" sz="1600" b="1" spc="-30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Open Sans Condensed" pitchFamily="34" charset="0"/>
              <a:cs typeface="Arial" pitchFamily="34" charset="0"/>
              <a:sym typeface="Arial"/>
            </a:endParaRPr>
          </a:p>
          <a:p>
            <a:pPr marL="285750" indent="-285750">
              <a:buFont typeface="Wingdings" panose="05000000000000000000" pitchFamily="2" charset="2"/>
              <a:buChar char="ü"/>
              <a:defRPr/>
            </a:pP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Средства Фонда позволяют сдерживать  рост тарифов в пределах индекса платы граждан за коммунальные услуги  </a:t>
            </a:r>
            <a:r>
              <a:rPr lang="ru-RU" sz="1200" i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  <a:sym typeface="Arial"/>
              </a:rPr>
              <a:t>(ПП № 400 от  30.04.2014 г. «</a:t>
            </a:r>
            <a:r>
              <a:rPr lang="ru-RU" sz="1200" i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О </a:t>
            </a:r>
            <a:r>
              <a:rPr lang="ru-RU" sz="1200" i="1" spc="-3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формировании </a:t>
            </a:r>
            <a:r>
              <a:rPr lang="ru-RU" sz="1200" i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индексов  </a:t>
            </a:r>
            <a:r>
              <a:rPr lang="ru-RU" sz="1200" i="1" spc="-3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изменения размера платы граждан за </a:t>
            </a:r>
            <a:r>
              <a:rPr lang="ru-RU" sz="1200" i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коммунальные </a:t>
            </a:r>
            <a:r>
              <a:rPr lang="ru-RU" sz="1200" i="1" spc="-3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услуги в </a:t>
            </a:r>
            <a:r>
              <a:rPr lang="ru-RU" sz="1200" i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РФ»)</a:t>
            </a:r>
            <a:endParaRPr lang="ru-RU" sz="1200" i="1" spc="-30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Open Sans Condensed" pitchFamily="34" charset="0"/>
              <a:cs typeface="Arial" pitchFamily="34" charset="0"/>
              <a:sym typeface="Arial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/>
          </p:nvPr>
        </p:nvGraphicFramePr>
        <p:xfrm>
          <a:off x="6638925" y="2489125"/>
          <a:ext cx="4487215" cy="2705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 rot="5400000">
            <a:off x="6687237" y="1893951"/>
            <a:ext cx="338554" cy="956352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pPr algn="r"/>
            <a:r>
              <a:rPr lang="ru-RU" sz="1000" b="1" dirty="0">
                <a:solidFill>
                  <a:srgbClr val="434D5D"/>
                </a:solidFill>
                <a:latin typeface="Arial"/>
                <a:ea typeface="Arial"/>
                <a:cs typeface="Arial"/>
              </a:rPr>
              <a:t>тыс.руб./Гка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834595" y="2764934"/>
            <a:ext cx="14414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Arial"/>
              </a:rPr>
              <a:t>Тариф </a:t>
            </a:r>
          </a:p>
          <a:p>
            <a:pPr algn="ctr"/>
            <a:r>
              <a:rPr lang="ru-RU" sz="1000" b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Arial"/>
              </a:rPr>
              <a:t>без средств Фонда</a:t>
            </a:r>
            <a:endParaRPr lang="ru-RU" sz="1000" b="1" dirty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303740" y="4343500"/>
            <a:ext cx="261139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ea typeface="Arial"/>
              </a:rPr>
              <a:t>Тариф с </a:t>
            </a:r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ea typeface="Arial"/>
              </a:rPr>
              <a:t>учетом </a:t>
            </a:r>
          </a:p>
          <a:p>
            <a:pPr algn="ctr"/>
            <a:r>
              <a:rPr lang="ru-RU" sz="1000" b="1" dirty="0" smtClean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ea typeface="Arial"/>
              </a:rPr>
              <a:t>средств </a:t>
            </a:r>
            <a:r>
              <a:rPr lang="ru-RU" sz="1000" b="1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ea typeface="Arial"/>
              </a:rPr>
              <a:t>Фонд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348916" y="1459191"/>
            <a:ext cx="3926075" cy="492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Изменение тарифов на примере проекта</a:t>
            </a:r>
          </a:p>
          <a:p>
            <a:r>
              <a:rPr lang="ru-RU" sz="1300" b="1" dirty="0" smtClean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</a:rPr>
              <a:t>теплоснабжения в Новосибирской области</a:t>
            </a:r>
            <a:endParaRPr lang="ru-RU" sz="1300" b="1" dirty="0">
              <a:solidFill>
                <a:schemeClr val="accent4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561006" y="1065879"/>
            <a:ext cx="7554674" cy="556235"/>
            <a:chOff x="386499" y="2140745"/>
            <a:chExt cx="7554674" cy="556235"/>
          </a:xfrm>
        </p:grpSpPr>
        <p:sp>
          <p:nvSpPr>
            <p:cNvPr id="28" name="TextBox 5"/>
            <p:cNvSpPr txBox="1"/>
            <p:nvPr/>
          </p:nvSpPr>
          <p:spPr>
            <a:xfrm>
              <a:off x="633455" y="2149572"/>
              <a:ext cx="7307718" cy="54740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/>
            <a:lstStyle>
              <a:lvl1pPr>
                <a:defRPr sz="2500" b="1">
                  <a:solidFill>
                    <a:schemeClr val="accent1">
                      <a:satOff val="-3547"/>
                      <a:lumOff val="-10352"/>
                    </a:schemeClr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Возможности </a:t>
              </a: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для  </a:t>
              </a:r>
              <a:r>
                <a:rPr lang="ru-RU" sz="2000" spc="-30" dirty="0" smtClean="0">
                  <a:solidFill>
                    <a:schemeClr val="accent4">
                      <a:lumMod val="75000"/>
                    </a:schemeClr>
                  </a:solidFill>
                  <a:latin typeface="Century Gothic" panose="020B0502020202020204" pitchFamily="34" charset="0"/>
                  <a:ea typeface="Open Sans Condensed" pitchFamily="34" charset="0"/>
                  <a:cs typeface="Noto Kufi Arabic" panose="020B0506030804020204" pitchFamily="34" charset="0"/>
                </a:rPr>
                <a:t>региона </a:t>
              </a:r>
              <a:endParaRPr lang="ru-RU" sz="2000" spc="-30" dirty="0">
                <a:solidFill>
                  <a:schemeClr val="accent4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Noto Kufi Arabic" panose="020B0506030804020204" pitchFamily="34" charset="0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386499" y="2144910"/>
              <a:ext cx="99879" cy="49459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37057" y="2140745"/>
              <a:ext cx="45719" cy="49648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2" name="Скругленный прямоугольник 4"/>
          <p:cNvSpPr txBox="1"/>
          <p:nvPr/>
        </p:nvSpPr>
        <p:spPr>
          <a:xfrm>
            <a:off x="372555" y="4333107"/>
            <a:ext cx="5551390" cy="141260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3825" tIns="123825" rIns="123825" bIns="123825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ru-RU" sz="1100" kern="1200" dirty="0">
              <a:solidFill>
                <a:schemeClr val="accent5">
                  <a:lumMod val="75000"/>
                </a:schemeClr>
              </a:solidFill>
            </a:endParaRPr>
          </a:p>
          <a:p>
            <a:pPr marL="285750" lvl="1" indent="-285750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М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ониторинг </a:t>
            </a:r>
            <a:r>
              <a:rPr lang="ru-RU" sz="1600" b="1" spc="-3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и 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контроль 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со стороны Фонда </a:t>
            </a:r>
            <a:endParaRPr lang="ru-RU" sz="1600" b="1" spc="-30" dirty="0" smtClean="0">
              <a:solidFill>
                <a:schemeClr val="accent5">
                  <a:lumMod val="75000"/>
                </a:schemeClr>
              </a:solidFill>
              <a:latin typeface="Century Gothic" panose="020B0502020202020204" pitchFamily="34" charset="0"/>
              <a:ea typeface="Open Sans Condensed" pitchFamily="34" charset="0"/>
              <a:cs typeface="Arial" pitchFamily="34" charset="0"/>
            </a:endParaRPr>
          </a:p>
          <a:p>
            <a:pPr marL="285750" lvl="1" indent="-285750">
              <a:spcBef>
                <a:spcPct val="0"/>
              </a:spcBef>
              <a:defRPr/>
            </a:pP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	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за 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ходом реализации </a:t>
            </a:r>
            <a:r>
              <a:rPr lang="ru-RU" sz="1600" b="1" spc="-3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проектов до ввода </a:t>
            </a:r>
            <a:r>
              <a:rPr lang="ru-RU" sz="1600" b="1" spc="-30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объектов в </a:t>
            </a:r>
            <a:r>
              <a:rPr lang="ru-RU" sz="1600" b="1" spc="-30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Open Sans Condensed" pitchFamily="34" charset="0"/>
                <a:cs typeface="Arial" pitchFamily="34" charset="0"/>
              </a:rPr>
              <a:t>эксплуатацию</a:t>
            </a:r>
          </a:p>
        </p:txBody>
      </p:sp>
      <p:sp>
        <p:nvSpPr>
          <p:cNvPr id="15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6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407204" y="25070"/>
            <a:ext cx="9000000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n-US" sz="2200" b="1" i="0" cap="none" baseline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редоставление финансовой поддержки </a:t>
            </a:r>
            <a:r>
              <a:rPr lang="ru-RU" dirty="0" smtClean="0"/>
              <a:t>Фонда ЖКХ</a:t>
            </a:r>
          </a:p>
          <a:p>
            <a:r>
              <a:rPr lang="ru-RU" dirty="0" smtClean="0"/>
              <a:t>на реализацию проектов М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8476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25"/>
          <p:cNvGrpSpPr/>
          <p:nvPr/>
        </p:nvGrpSpPr>
        <p:grpSpPr>
          <a:xfrm>
            <a:off x="2030622" y="1375719"/>
            <a:ext cx="7607648" cy="3896492"/>
            <a:chOff x="535147" y="1733477"/>
            <a:chExt cx="3317700" cy="1907025"/>
          </a:xfrm>
        </p:grpSpPr>
        <p:pic>
          <p:nvPicPr>
            <p:cNvPr id="30" name="Picture 4" descr="https://www.original.in.ua/layout/rus_of.png.pagespeed.ce.HThyh5maI3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147" y="1733477"/>
              <a:ext cx="3317700" cy="19070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Группа 31"/>
            <p:cNvGrpSpPr/>
            <p:nvPr/>
          </p:nvGrpSpPr>
          <p:grpSpPr>
            <a:xfrm>
              <a:off x="823440" y="2232526"/>
              <a:ext cx="2581245" cy="1029236"/>
              <a:chOff x="768315" y="2265184"/>
              <a:chExt cx="2581245" cy="1029236"/>
            </a:xfrm>
          </p:grpSpPr>
          <p:pic>
            <p:nvPicPr>
              <p:cNvPr id="40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90267" y="2265184"/>
                <a:ext cx="280153" cy="28015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94247" y="2944300"/>
                <a:ext cx="350120" cy="350120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448" y="2877252"/>
                <a:ext cx="278112" cy="278112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8315" y="2665216"/>
                <a:ext cx="253175" cy="253175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4" descr="https://image.flaticon.com/icons/png/512/590/590415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7286" y="2362038"/>
                <a:ext cx="259658" cy="259658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7" name="Title 1"/>
          <p:cNvSpPr txBox="1">
            <a:spLocks/>
          </p:cNvSpPr>
          <p:nvPr/>
        </p:nvSpPr>
        <p:spPr>
          <a:xfrm>
            <a:off x="176540" y="-16120"/>
            <a:ext cx="9758292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Одобренные Фондом заявки от Субъектов РФ на предоставление финансовой поддержки на реализацию проектов МКИ* 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661605" y="1422423"/>
            <a:ext cx="365125" cy="376237"/>
            <a:chOff x="5759" y="291"/>
            <a:chExt cx="576" cy="591"/>
          </a:xfrm>
        </p:grpSpPr>
        <p:sp>
          <p:nvSpPr>
            <p:cNvPr id="22" name="AutoShape 10"/>
            <p:cNvSpPr>
              <a:spLocks/>
            </p:cNvSpPr>
            <p:nvPr/>
          </p:nvSpPr>
          <p:spPr bwMode="auto">
            <a:xfrm>
              <a:off x="5759" y="290"/>
              <a:ext cx="576" cy="591"/>
            </a:xfrm>
            <a:custGeom>
              <a:avLst/>
              <a:gdLst>
                <a:gd name="T0" fmla="+- 0 5990 5759"/>
                <a:gd name="T1" fmla="*/ T0 w 576"/>
                <a:gd name="T2" fmla="+- 0 296 291"/>
                <a:gd name="T3" fmla="*/ 296 h 591"/>
                <a:gd name="T4" fmla="+- 0 5887 5759"/>
                <a:gd name="T5" fmla="*/ T4 w 576"/>
                <a:gd name="T6" fmla="+- 0 340 291"/>
                <a:gd name="T7" fmla="*/ 340 h 591"/>
                <a:gd name="T8" fmla="+- 0 5807 5759"/>
                <a:gd name="T9" fmla="*/ T8 w 576"/>
                <a:gd name="T10" fmla="+- 0 422 291"/>
                <a:gd name="T11" fmla="*/ 422 h 591"/>
                <a:gd name="T12" fmla="+- 0 5765 5759"/>
                <a:gd name="T13" fmla="*/ T12 w 576"/>
                <a:gd name="T14" fmla="+- 0 528 291"/>
                <a:gd name="T15" fmla="*/ 528 h 591"/>
                <a:gd name="T16" fmla="+- 0 5765 5759"/>
                <a:gd name="T17" fmla="*/ T16 w 576"/>
                <a:gd name="T18" fmla="+- 0 644 291"/>
                <a:gd name="T19" fmla="*/ 644 h 591"/>
                <a:gd name="T20" fmla="+- 0 5807 5759"/>
                <a:gd name="T21" fmla="*/ T20 w 576"/>
                <a:gd name="T22" fmla="+- 0 749 291"/>
                <a:gd name="T23" fmla="*/ 749 h 591"/>
                <a:gd name="T24" fmla="+- 0 5887 5759"/>
                <a:gd name="T25" fmla="*/ T24 w 576"/>
                <a:gd name="T26" fmla="+- 0 831 291"/>
                <a:gd name="T27" fmla="*/ 831 h 591"/>
                <a:gd name="T28" fmla="+- 0 5990 5759"/>
                <a:gd name="T29" fmla="*/ T28 w 576"/>
                <a:gd name="T30" fmla="+- 0 875 291"/>
                <a:gd name="T31" fmla="*/ 875 h 591"/>
                <a:gd name="T32" fmla="+- 0 6103 5759"/>
                <a:gd name="T33" fmla="*/ T32 w 576"/>
                <a:gd name="T34" fmla="+- 0 875 291"/>
                <a:gd name="T35" fmla="*/ 875 h 591"/>
                <a:gd name="T36" fmla="+- 0 6047 5759"/>
                <a:gd name="T37" fmla="*/ T36 w 576"/>
                <a:gd name="T38" fmla="+- 0 863 291"/>
                <a:gd name="T39" fmla="*/ 863 h 591"/>
                <a:gd name="T40" fmla="+- 0 5943 5759"/>
                <a:gd name="T41" fmla="*/ T40 w 576"/>
                <a:gd name="T42" fmla="+- 0 842 291"/>
                <a:gd name="T43" fmla="*/ 842 h 591"/>
                <a:gd name="T44" fmla="+- 0 5856 5759"/>
                <a:gd name="T45" fmla="*/ T44 w 576"/>
                <a:gd name="T46" fmla="+- 0 782 291"/>
                <a:gd name="T47" fmla="*/ 782 h 591"/>
                <a:gd name="T48" fmla="+- 0 5797 5759"/>
                <a:gd name="T49" fmla="*/ T48 w 576"/>
                <a:gd name="T50" fmla="+- 0 692 291"/>
                <a:gd name="T51" fmla="*/ 692 h 591"/>
                <a:gd name="T52" fmla="+- 0 5776 5759"/>
                <a:gd name="T53" fmla="*/ T52 w 576"/>
                <a:gd name="T54" fmla="+- 0 586 291"/>
                <a:gd name="T55" fmla="*/ 586 h 591"/>
                <a:gd name="T56" fmla="+- 0 5797 5759"/>
                <a:gd name="T57" fmla="*/ T56 w 576"/>
                <a:gd name="T58" fmla="+- 0 479 291"/>
                <a:gd name="T59" fmla="*/ 479 h 591"/>
                <a:gd name="T60" fmla="+- 0 5856 5759"/>
                <a:gd name="T61" fmla="*/ T60 w 576"/>
                <a:gd name="T62" fmla="+- 0 389 291"/>
                <a:gd name="T63" fmla="*/ 389 h 591"/>
                <a:gd name="T64" fmla="+- 0 5943 5759"/>
                <a:gd name="T65" fmla="*/ T64 w 576"/>
                <a:gd name="T66" fmla="+- 0 329 291"/>
                <a:gd name="T67" fmla="*/ 329 h 591"/>
                <a:gd name="T68" fmla="+- 0 6047 5759"/>
                <a:gd name="T69" fmla="*/ T68 w 576"/>
                <a:gd name="T70" fmla="+- 0 308 291"/>
                <a:gd name="T71" fmla="*/ 308 h 591"/>
                <a:gd name="T72" fmla="+- 0 6122 5759"/>
                <a:gd name="T73" fmla="*/ T72 w 576"/>
                <a:gd name="T74" fmla="+- 0 301 291"/>
                <a:gd name="T75" fmla="*/ 301 h 591"/>
                <a:gd name="T76" fmla="+- 0 6047 5759"/>
                <a:gd name="T77" fmla="*/ T76 w 576"/>
                <a:gd name="T78" fmla="+- 0 291 291"/>
                <a:gd name="T79" fmla="*/ 291 h 591"/>
                <a:gd name="T80" fmla="+- 0 6297 5759"/>
                <a:gd name="T81" fmla="*/ T80 w 576"/>
                <a:gd name="T82" fmla="+- 0 469 291"/>
                <a:gd name="T83" fmla="*/ 469 h 591"/>
                <a:gd name="T84" fmla="+- 0 6296 5759"/>
                <a:gd name="T85" fmla="*/ T84 w 576"/>
                <a:gd name="T86" fmla="+- 0 478 291"/>
                <a:gd name="T87" fmla="*/ 478 h 591"/>
                <a:gd name="T88" fmla="+- 0 6312 5759"/>
                <a:gd name="T89" fmla="*/ T88 w 576"/>
                <a:gd name="T90" fmla="+- 0 531 291"/>
                <a:gd name="T91" fmla="*/ 531 h 591"/>
                <a:gd name="T92" fmla="+- 0 6317 5759"/>
                <a:gd name="T93" fmla="*/ T92 w 576"/>
                <a:gd name="T94" fmla="+- 0 586 291"/>
                <a:gd name="T95" fmla="*/ 586 h 591"/>
                <a:gd name="T96" fmla="+- 0 6297 5759"/>
                <a:gd name="T97" fmla="*/ T96 w 576"/>
                <a:gd name="T98" fmla="+- 0 692 291"/>
                <a:gd name="T99" fmla="*/ 692 h 591"/>
                <a:gd name="T100" fmla="+- 0 6238 5759"/>
                <a:gd name="T101" fmla="*/ T100 w 576"/>
                <a:gd name="T102" fmla="+- 0 782 291"/>
                <a:gd name="T103" fmla="*/ 782 h 591"/>
                <a:gd name="T104" fmla="+- 0 6151 5759"/>
                <a:gd name="T105" fmla="*/ T104 w 576"/>
                <a:gd name="T106" fmla="+- 0 842 291"/>
                <a:gd name="T107" fmla="*/ 842 h 591"/>
                <a:gd name="T108" fmla="+- 0 6047 5759"/>
                <a:gd name="T109" fmla="*/ T108 w 576"/>
                <a:gd name="T110" fmla="+- 0 863 291"/>
                <a:gd name="T111" fmla="*/ 863 h 591"/>
                <a:gd name="T112" fmla="+- 0 6157 5759"/>
                <a:gd name="T113" fmla="*/ T112 w 576"/>
                <a:gd name="T114" fmla="+- 0 859 291"/>
                <a:gd name="T115" fmla="*/ 859 h 591"/>
                <a:gd name="T116" fmla="+- 0 6250 5759"/>
                <a:gd name="T117" fmla="*/ T116 w 576"/>
                <a:gd name="T118" fmla="+- 0 794 291"/>
                <a:gd name="T119" fmla="*/ 794 h 591"/>
                <a:gd name="T120" fmla="+- 0 6313 5759"/>
                <a:gd name="T121" fmla="*/ T120 w 576"/>
                <a:gd name="T122" fmla="+- 0 699 291"/>
                <a:gd name="T123" fmla="*/ 699 h 591"/>
                <a:gd name="T124" fmla="+- 0 6335 5759"/>
                <a:gd name="T125" fmla="*/ T124 w 576"/>
                <a:gd name="T126" fmla="+- 0 586 291"/>
                <a:gd name="T127" fmla="*/ 586 h 591"/>
                <a:gd name="T128" fmla="+- 0 6329 5759"/>
                <a:gd name="T129" fmla="*/ T128 w 576"/>
                <a:gd name="T130" fmla="+- 0 527 291"/>
                <a:gd name="T131" fmla="*/ 527 h 591"/>
                <a:gd name="T132" fmla="+- 0 6312 5759"/>
                <a:gd name="T133" fmla="*/ T132 w 576"/>
                <a:gd name="T134" fmla="+- 0 471 291"/>
                <a:gd name="T135" fmla="*/ 471 h 591"/>
                <a:gd name="T136" fmla="+- 0 6305 5759"/>
                <a:gd name="T137" fmla="*/ T136 w 576"/>
                <a:gd name="T138" fmla="+- 0 465 291"/>
                <a:gd name="T139" fmla="*/ 465 h 591"/>
                <a:gd name="T140" fmla="+- 0 6047 5759"/>
                <a:gd name="T141" fmla="*/ T140 w 576"/>
                <a:gd name="T142" fmla="+- 0 308 291"/>
                <a:gd name="T143" fmla="*/ 308 h 591"/>
                <a:gd name="T144" fmla="+- 0 6118 5759"/>
                <a:gd name="T145" fmla="*/ T144 w 576"/>
                <a:gd name="T146" fmla="+- 0 318 291"/>
                <a:gd name="T147" fmla="*/ 318 h 591"/>
                <a:gd name="T148" fmla="+- 0 6184 5759"/>
                <a:gd name="T149" fmla="*/ T148 w 576"/>
                <a:gd name="T150" fmla="+- 0 346 291"/>
                <a:gd name="T151" fmla="*/ 346 h 591"/>
                <a:gd name="T152" fmla="+- 0 6239 5759"/>
                <a:gd name="T153" fmla="*/ T152 w 576"/>
                <a:gd name="T154" fmla="+- 0 390 291"/>
                <a:gd name="T155" fmla="*/ 390 h 591"/>
                <a:gd name="T156" fmla="+- 0 6281 5759"/>
                <a:gd name="T157" fmla="*/ T156 w 576"/>
                <a:gd name="T158" fmla="+- 0 446 291"/>
                <a:gd name="T159" fmla="*/ 446 h 591"/>
                <a:gd name="T160" fmla="+- 0 6288 5759"/>
                <a:gd name="T161" fmla="*/ T160 w 576"/>
                <a:gd name="T162" fmla="+- 0 452 291"/>
                <a:gd name="T163" fmla="*/ 452 h 591"/>
                <a:gd name="T164" fmla="+- 0 6298 5759"/>
                <a:gd name="T165" fmla="*/ T164 w 576"/>
                <a:gd name="T166" fmla="+- 0 442 291"/>
                <a:gd name="T167" fmla="*/ 442 h 591"/>
                <a:gd name="T168" fmla="+- 0 6275 5759"/>
                <a:gd name="T169" fmla="*/ T168 w 576"/>
                <a:gd name="T170" fmla="+- 0 406 291"/>
                <a:gd name="T171" fmla="*/ 406 h 591"/>
                <a:gd name="T172" fmla="+- 0 6223 5759"/>
                <a:gd name="T173" fmla="*/ T172 w 576"/>
                <a:gd name="T174" fmla="+- 0 352 291"/>
                <a:gd name="T175" fmla="*/ 352 h 591"/>
                <a:gd name="T176" fmla="+- 0 6158 5759"/>
                <a:gd name="T177" fmla="*/ T176 w 576"/>
                <a:gd name="T178" fmla="+- 0 314 291"/>
                <a:gd name="T179" fmla="*/ 314 h 59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  <a:cxn ang="0">
                  <a:pos x="T117" y="T119"/>
                </a:cxn>
                <a:cxn ang="0">
                  <a:pos x="T121" y="T123"/>
                </a:cxn>
                <a:cxn ang="0">
                  <a:pos x="T125" y="T127"/>
                </a:cxn>
                <a:cxn ang="0">
                  <a:pos x="T129" y="T131"/>
                </a:cxn>
                <a:cxn ang="0">
                  <a:pos x="T133" y="T135"/>
                </a:cxn>
                <a:cxn ang="0">
                  <a:pos x="T137" y="T139"/>
                </a:cxn>
                <a:cxn ang="0">
                  <a:pos x="T141" y="T143"/>
                </a:cxn>
                <a:cxn ang="0">
                  <a:pos x="T145" y="T147"/>
                </a:cxn>
                <a:cxn ang="0">
                  <a:pos x="T149" y="T151"/>
                </a:cxn>
                <a:cxn ang="0">
                  <a:pos x="T153" y="T155"/>
                </a:cxn>
                <a:cxn ang="0">
                  <a:pos x="T157" y="T159"/>
                </a:cxn>
                <a:cxn ang="0">
                  <a:pos x="T161" y="T163"/>
                </a:cxn>
                <a:cxn ang="0">
                  <a:pos x="T165" y="T167"/>
                </a:cxn>
                <a:cxn ang="0">
                  <a:pos x="T169" y="T171"/>
                </a:cxn>
                <a:cxn ang="0">
                  <a:pos x="T173" y="T175"/>
                </a:cxn>
                <a:cxn ang="0">
                  <a:pos x="T177" y="T179"/>
                </a:cxn>
              </a:cxnLst>
              <a:rect l="0" t="0" r="r" b="b"/>
              <a:pathLst>
                <a:path w="576" h="591">
                  <a:moveTo>
                    <a:pt x="288" y="0"/>
                  </a:moveTo>
                  <a:lnTo>
                    <a:pt x="231" y="5"/>
                  </a:lnTo>
                  <a:lnTo>
                    <a:pt x="178" y="22"/>
                  </a:lnTo>
                  <a:lnTo>
                    <a:pt x="128" y="49"/>
                  </a:lnTo>
                  <a:lnTo>
                    <a:pt x="85" y="86"/>
                  </a:lnTo>
                  <a:lnTo>
                    <a:pt x="48" y="131"/>
                  </a:lnTo>
                  <a:lnTo>
                    <a:pt x="22" y="182"/>
                  </a:lnTo>
                  <a:lnTo>
                    <a:pt x="6" y="237"/>
                  </a:lnTo>
                  <a:lnTo>
                    <a:pt x="0" y="295"/>
                  </a:lnTo>
                  <a:lnTo>
                    <a:pt x="6" y="353"/>
                  </a:lnTo>
                  <a:lnTo>
                    <a:pt x="22" y="408"/>
                  </a:lnTo>
                  <a:lnTo>
                    <a:pt x="48" y="458"/>
                  </a:lnTo>
                  <a:lnTo>
                    <a:pt x="85" y="503"/>
                  </a:lnTo>
                  <a:lnTo>
                    <a:pt x="128" y="540"/>
                  </a:lnTo>
                  <a:lnTo>
                    <a:pt x="178" y="568"/>
                  </a:lnTo>
                  <a:lnTo>
                    <a:pt x="231" y="584"/>
                  </a:lnTo>
                  <a:lnTo>
                    <a:pt x="288" y="590"/>
                  </a:lnTo>
                  <a:lnTo>
                    <a:pt x="344" y="584"/>
                  </a:lnTo>
                  <a:lnTo>
                    <a:pt x="383" y="572"/>
                  </a:lnTo>
                  <a:lnTo>
                    <a:pt x="288" y="572"/>
                  </a:lnTo>
                  <a:lnTo>
                    <a:pt x="235" y="567"/>
                  </a:lnTo>
                  <a:lnTo>
                    <a:pt x="184" y="551"/>
                  </a:lnTo>
                  <a:lnTo>
                    <a:pt x="138" y="526"/>
                  </a:lnTo>
                  <a:lnTo>
                    <a:pt x="97" y="491"/>
                  </a:lnTo>
                  <a:lnTo>
                    <a:pt x="63" y="449"/>
                  </a:lnTo>
                  <a:lnTo>
                    <a:pt x="38" y="401"/>
                  </a:lnTo>
                  <a:lnTo>
                    <a:pt x="23" y="349"/>
                  </a:lnTo>
                  <a:lnTo>
                    <a:pt x="17" y="295"/>
                  </a:lnTo>
                  <a:lnTo>
                    <a:pt x="23" y="240"/>
                  </a:lnTo>
                  <a:lnTo>
                    <a:pt x="38" y="188"/>
                  </a:lnTo>
                  <a:lnTo>
                    <a:pt x="63" y="141"/>
                  </a:lnTo>
                  <a:lnTo>
                    <a:pt x="97" y="98"/>
                  </a:lnTo>
                  <a:lnTo>
                    <a:pt x="138" y="64"/>
                  </a:lnTo>
                  <a:lnTo>
                    <a:pt x="184" y="38"/>
                  </a:lnTo>
                  <a:lnTo>
                    <a:pt x="235" y="22"/>
                  </a:lnTo>
                  <a:lnTo>
                    <a:pt x="288" y="17"/>
                  </a:lnTo>
                  <a:lnTo>
                    <a:pt x="384" y="17"/>
                  </a:lnTo>
                  <a:lnTo>
                    <a:pt x="363" y="10"/>
                  </a:lnTo>
                  <a:lnTo>
                    <a:pt x="326" y="2"/>
                  </a:lnTo>
                  <a:lnTo>
                    <a:pt x="288" y="0"/>
                  </a:lnTo>
                  <a:close/>
                  <a:moveTo>
                    <a:pt x="546" y="174"/>
                  </a:moveTo>
                  <a:lnTo>
                    <a:pt x="538" y="178"/>
                  </a:lnTo>
                  <a:lnTo>
                    <a:pt x="536" y="183"/>
                  </a:lnTo>
                  <a:lnTo>
                    <a:pt x="537" y="187"/>
                  </a:lnTo>
                  <a:lnTo>
                    <a:pt x="547" y="213"/>
                  </a:lnTo>
                  <a:lnTo>
                    <a:pt x="553" y="240"/>
                  </a:lnTo>
                  <a:lnTo>
                    <a:pt x="557" y="267"/>
                  </a:lnTo>
                  <a:lnTo>
                    <a:pt x="558" y="295"/>
                  </a:lnTo>
                  <a:lnTo>
                    <a:pt x="553" y="349"/>
                  </a:lnTo>
                  <a:lnTo>
                    <a:pt x="538" y="401"/>
                  </a:lnTo>
                  <a:lnTo>
                    <a:pt x="513" y="449"/>
                  </a:lnTo>
                  <a:lnTo>
                    <a:pt x="479" y="491"/>
                  </a:lnTo>
                  <a:lnTo>
                    <a:pt x="438" y="526"/>
                  </a:lnTo>
                  <a:lnTo>
                    <a:pt x="392" y="551"/>
                  </a:lnTo>
                  <a:lnTo>
                    <a:pt x="341" y="567"/>
                  </a:lnTo>
                  <a:lnTo>
                    <a:pt x="288" y="572"/>
                  </a:lnTo>
                  <a:lnTo>
                    <a:pt x="383" y="572"/>
                  </a:lnTo>
                  <a:lnTo>
                    <a:pt x="398" y="568"/>
                  </a:lnTo>
                  <a:lnTo>
                    <a:pt x="447" y="540"/>
                  </a:lnTo>
                  <a:lnTo>
                    <a:pt x="491" y="503"/>
                  </a:lnTo>
                  <a:lnTo>
                    <a:pt x="527" y="458"/>
                  </a:lnTo>
                  <a:lnTo>
                    <a:pt x="554" y="408"/>
                  </a:lnTo>
                  <a:lnTo>
                    <a:pt x="570" y="353"/>
                  </a:lnTo>
                  <a:lnTo>
                    <a:pt x="576" y="295"/>
                  </a:lnTo>
                  <a:lnTo>
                    <a:pt x="574" y="265"/>
                  </a:lnTo>
                  <a:lnTo>
                    <a:pt x="570" y="236"/>
                  </a:lnTo>
                  <a:lnTo>
                    <a:pt x="563" y="208"/>
                  </a:lnTo>
                  <a:lnTo>
                    <a:pt x="553" y="180"/>
                  </a:lnTo>
                  <a:lnTo>
                    <a:pt x="551" y="176"/>
                  </a:lnTo>
                  <a:lnTo>
                    <a:pt x="546" y="174"/>
                  </a:lnTo>
                  <a:close/>
                  <a:moveTo>
                    <a:pt x="384" y="17"/>
                  </a:moveTo>
                  <a:lnTo>
                    <a:pt x="288" y="17"/>
                  </a:lnTo>
                  <a:lnTo>
                    <a:pt x="324" y="20"/>
                  </a:lnTo>
                  <a:lnTo>
                    <a:pt x="359" y="27"/>
                  </a:lnTo>
                  <a:lnTo>
                    <a:pt x="393" y="39"/>
                  </a:lnTo>
                  <a:lnTo>
                    <a:pt x="425" y="55"/>
                  </a:lnTo>
                  <a:lnTo>
                    <a:pt x="454" y="75"/>
                  </a:lnTo>
                  <a:lnTo>
                    <a:pt x="480" y="99"/>
                  </a:lnTo>
                  <a:lnTo>
                    <a:pt x="502" y="126"/>
                  </a:lnTo>
                  <a:lnTo>
                    <a:pt x="522" y="155"/>
                  </a:lnTo>
                  <a:lnTo>
                    <a:pt x="524" y="159"/>
                  </a:lnTo>
                  <a:lnTo>
                    <a:pt x="529" y="161"/>
                  </a:lnTo>
                  <a:lnTo>
                    <a:pt x="538" y="156"/>
                  </a:lnTo>
                  <a:lnTo>
                    <a:pt x="539" y="151"/>
                  </a:lnTo>
                  <a:lnTo>
                    <a:pt x="537" y="146"/>
                  </a:lnTo>
                  <a:lnTo>
                    <a:pt x="516" y="115"/>
                  </a:lnTo>
                  <a:lnTo>
                    <a:pt x="492" y="86"/>
                  </a:lnTo>
                  <a:lnTo>
                    <a:pt x="464" y="61"/>
                  </a:lnTo>
                  <a:lnTo>
                    <a:pt x="433" y="40"/>
                  </a:lnTo>
                  <a:lnTo>
                    <a:pt x="399" y="23"/>
                  </a:lnTo>
                  <a:lnTo>
                    <a:pt x="384" y="17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AutoShape 11"/>
            <p:cNvSpPr>
              <a:spLocks/>
            </p:cNvSpPr>
            <p:nvPr/>
          </p:nvSpPr>
          <p:spPr bwMode="auto">
            <a:xfrm>
              <a:off x="5821" y="354"/>
              <a:ext cx="451" cy="463"/>
            </a:xfrm>
            <a:custGeom>
              <a:avLst/>
              <a:gdLst>
                <a:gd name="T0" fmla="+- 0 6047 5822"/>
                <a:gd name="T1" fmla="*/ T0 w 451"/>
                <a:gd name="T2" fmla="+- 0 354 354"/>
                <a:gd name="T3" fmla="*/ 354 h 463"/>
                <a:gd name="T4" fmla="+- 0 5976 5822"/>
                <a:gd name="T5" fmla="*/ T4 w 451"/>
                <a:gd name="T6" fmla="+- 0 366 354"/>
                <a:gd name="T7" fmla="*/ 366 h 463"/>
                <a:gd name="T8" fmla="+- 0 5914 5822"/>
                <a:gd name="T9" fmla="*/ T8 w 451"/>
                <a:gd name="T10" fmla="+- 0 399 354"/>
                <a:gd name="T11" fmla="*/ 399 h 463"/>
                <a:gd name="T12" fmla="+- 0 5865 5822"/>
                <a:gd name="T13" fmla="*/ T12 w 451"/>
                <a:gd name="T14" fmla="+- 0 449 354"/>
                <a:gd name="T15" fmla="*/ 449 h 463"/>
                <a:gd name="T16" fmla="+- 0 5833 5822"/>
                <a:gd name="T17" fmla="*/ T16 w 451"/>
                <a:gd name="T18" fmla="+- 0 513 354"/>
                <a:gd name="T19" fmla="*/ 513 h 463"/>
                <a:gd name="T20" fmla="+- 0 5822 5822"/>
                <a:gd name="T21" fmla="*/ T20 w 451"/>
                <a:gd name="T22" fmla="+- 0 586 354"/>
                <a:gd name="T23" fmla="*/ 586 h 463"/>
                <a:gd name="T24" fmla="+- 0 5833 5822"/>
                <a:gd name="T25" fmla="*/ T24 w 451"/>
                <a:gd name="T26" fmla="+- 0 659 354"/>
                <a:gd name="T27" fmla="*/ 659 h 463"/>
                <a:gd name="T28" fmla="+- 0 5865 5822"/>
                <a:gd name="T29" fmla="*/ T28 w 451"/>
                <a:gd name="T30" fmla="+- 0 722 354"/>
                <a:gd name="T31" fmla="*/ 722 h 463"/>
                <a:gd name="T32" fmla="+- 0 5914 5822"/>
                <a:gd name="T33" fmla="*/ T32 w 451"/>
                <a:gd name="T34" fmla="+- 0 772 354"/>
                <a:gd name="T35" fmla="*/ 772 h 463"/>
                <a:gd name="T36" fmla="+- 0 5976 5822"/>
                <a:gd name="T37" fmla="*/ T36 w 451"/>
                <a:gd name="T38" fmla="+- 0 805 354"/>
                <a:gd name="T39" fmla="*/ 805 h 463"/>
                <a:gd name="T40" fmla="+- 0 6047 5822"/>
                <a:gd name="T41" fmla="*/ T40 w 451"/>
                <a:gd name="T42" fmla="+- 0 817 354"/>
                <a:gd name="T43" fmla="*/ 817 h 463"/>
                <a:gd name="T44" fmla="+- 0 6118 5822"/>
                <a:gd name="T45" fmla="*/ T44 w 451"/>
                <a:gd name="T46" fmla="+- 0 805 354"/>
                <a:gd name="T47" fmla="*/ 805 h 463"/>
                <a:gd name="T48" fmla="+- 0 6129 5822"/>
                <a:gd name="T49" fmla="*/ T48 w 451"/>
                <a:gd name="T50" fmla="+- 0 800 354"/>
                <a:gd name="T51" fmla="*/ 800 h 463"/>
                <a:gd name="T52" fmla="+- 0 6047 5822"/>
                <a:gd name="T53" fmla="*/ T52 w 451"/>
                <a:gd name="T54" fmla="+- 0 800 354"/>
                <a:gd name="T55" fmla="*/ 800 h 463"/>
                <a:gd name="T56" fmla="+- 0 5981 5822"/>
                <a:gd name="T57" fmla="*/ T56 w 451"/>
                <a:gd name="T58" fmla="+- 0 789 354"/>
                <a:gd name="T59" fmla="*/ 789 h 463"/>
                <a:gd name="T60" fmla="+- 0 5924 5822"/>
                <a:gd name="T61" fmla="*/ T60 w 451"/>
                <a:gd name="T62" fmla="+- 0 758 354"/>
                <a:gd name="T63" fmla="*/ 758 h 463"/>
                <a:gd name="T64" fmla="+- 0 5879 5822"/>
                <a:gd name="T65" fmla="*/ T64 w 451"/>
                <a:gd name="T66" fmla="+- 0 712 354"/>
                <a:gd name="T67" fmla="*/ 712 h 463"/>
                <a:gd name="T68" fmla="+- 0 5849 5822"/>
                <a:gd name="T69" fmla="*/ T68 w 451"/>
                <a:gd name="T70" fmla="+- 0 653 354"/>
                <a:gd name="T71" fmla="*/ 653 h 463"/>
                <a:gd name="T72" fmla="+- 0 5839 5822"/>
                <a:gd name="T73" fmla="*/ T72 w 451"/>
                <a:gd name="T74" fmla="+- 0 586 354"/>
                <a:gd name="T75" fmla="*/ 586 h 463"/>
                <a:gd name="T76" fmla="+- 0 5849 5822"/>
                <a:gd name="T77" fmla="*/ T76 w 451"/>
                <a:gd name="T78" fmla="+- 0 518 354"/>
                <a:gd name="T79" fmla="*/ 518 h 463"/>
                <a:gd name="T80" fmla="+- 0 5879 5822"/>
                <a:gd name="T81" fmla="*/ T80 w 451"/>
                <a:gd name="T82" fmla="+- 0 460 354"/>
                <a:gd name="T83" fmla="*/ 460 h 463"/>
                <a:gd name="T84" fmla="+- 0 5924 5822"/>
                <a:gd name="T85" fmla="*/ T84 w 451"/>
                <a:gd name="T86" fmla="+- 0 413 354"/>
                <a:gd name="T87" fmla="*/ 413 h 463"/>
                <a:gd name="T88" fmla="+- 0 5981 5822"/>
                <a:gd name="T89" fmla="*/ T88 w 451"/>
                <a:gd name="T90" fmla="+- 0 383 354"/>
                <a:gd name="T91" fmla="*/ 383 h 463"/>
                <a:gd name="T92" fmla="+- 0 6047 5822"/>
                <a:gd name="T93" fmla="*/ T92 w 451"/>
                <a:gd name="T94" fmla="+- 0 372 354"/>
                <a:gd name="T95" fmla="*/ 372 h 463"/>
                <a:gd name="T96" fmla="+- 0 6129 5822"/>
                <a:gd name="T97" fmla="*/ T96 w 451"/>
                <a:gd name="T98" fmla="+- 0 372 354"/>
                <a:gd name="T99" fmla="*/ 372 h 463"/>
                <a:gd name="T100" fmla="+- 0 6118 5822"/>
                <a:gd name="T101" fmla="*/ T100 w 451"/>
                <a:gd name="T102" fmla="+- 0 366 354"/>
                <a:gd name="T103" fmla="*/ 366 h 463"/>
                <a:gd name="T104" fmla="+- 0 6047 5822"/>
                <a:gd name="T105" fmla="*/ T104 w 451"/>
                <a:gd name="T106" fmla="+- 0 354 354"/>
                <a:gd name="T107" fmla="*/ 354 h 463"/>
                <a:gd name="T108" fmla="+- 0 6129 5822"/>
                <a:gd name="T109" fmla="*/ T108 w 451"/>
                <a:gd name="T110" fmla="+- 0 372 354"/>
                <a:gd name="T111" fmla="*/ 372 h 463"/>
                <a:gd name="T112" fmla="+- 0 6047 5822"/>
                <a:gd name="T113" fmla="*/ T112 w 451"/>
                <a:gd name="T114" fmla="+- 0 372 354"/>
                <a:gd name="T115" fmla="*/ 372 h 463"/>
                <a:gd name="T116" fmla="+- 0 6113 5822"/>
                <a:gd name="T117" fmla="*/ T116 w 451"/>
                <a:gd name="T118" fmla="+- 0 383 354"/>
                <a:gd name="T119" fmla="*/ 383 h 463"/>
                <a:gd name="T120" fmla="+- 0 6170 5822"/>
                <a:gd name="T121" fmla="*/ T120 w 451"/>
                <a:gd name="T122" fmla="+- 0 413 354"/>
                <a:gd name="T123" fmla="*/ 413 h 463"/>
                <a:gd name="T124" fmla="+- 0 6215 5822"/>
                <a:gd name="T125" fmla="*/ T124 w 451"/>
                <a:gd name="T126" fmla="+- 0 460 354"/>
                <a:gd name="T127" fmla="*/ 460 h 463"/>
                <a:gd name="T128" fmla="+- 0 6245 5822"/>
                <a:gd name="T129" fmla="*/ T128 w 451"/>
                <a:gd name="T130" fmla="+- 0 518 354"/>
                <a:gd name="T131" fmla="*/ 518 h 463"/>
                <a:gd name="T132" fmla="+- 0 6255 5822"/>
                <a:gd name="T133" fmla="*/ T132 w 451"/>
                <a:gd name="T134" fmla="+- 0 586 354"/>
                <a:gd name="T135" fmla="*/ 586 h 463"/>
                <a:gd name="T136" fmla="+- 0 6245 5822"/>
                <a:gd name="T137" fmla="*/ T136 w 451"/>
                <a:gd name="T138" fmla="+- 0 653 354"/>
                <a:gd name="T139" fmla="*/ 653 h 463"/>
                <a:gd name="T140" fmla="+- 0 6215 5822"/>
                <a:gd name="T141" fmla="*/ T140 w 451"/>
                <a:gd name="T142" fmla="+- 0 712 354"/>
                <a:gd name="T143" fmla="*/ 712 h 463"/>
                <a:gd name="T144" fmla="+- 0 6170 5822"/>
                <a:gd name="T145" fmla="*/ T144 w 451"/>
                <a:gd name="T146" fmla="+- 0 758 354"/>
                <a:gd name="T147" fmla="*/ 758 h 463"/>
                <a:gd name="T148" fmla="+- 0 6113 5822"/>
                <a:gd name="T149" fmla="*/ T148 w 451"/>
                <a:gd name="T150" fmla="+- 0 789 354"/>
                <a:gd name="T151" fmla="*/ 789 h 463"/>
                <a:gd name="T152" fmla="+- 0 6047 5822"/>
                <a:gd name="T153" fmla="*/ T152 w 451"/>
                <a:gd name="T154" fmla="+- 0 800 354"/>
                <a:gd name="T155" fmla="*/ 800 h 463"/>
                <a:gd name="T156" fmla="+- 0 6129 5822"/>
                <a:gd name="T157" fmla="*/ T156 w 451"/>
                <a:gd name="T158" fmla="+- 0 800 354"/>
                <a:gd name="T159" fmla="*/ 800 h 463"/>
                <a:gd name="T160" fmla="+- 0 6180 5822"/>
                <a:gd name="T161" fmla="*/ T160 w 451"/>
                <a:gd name="T162" fmla="+- 0 772 354"/>
                <a:gd name="T163" fmla="*/ 772 h 463"/>
                <a:gd name="T164" fmla="+- 0 6229 5822"/>
                <a:gd name="T165" fmla="*/ T164 w 451"/>
                <a:gd name="T166" fmla="+- 0 722 354"/>
                <a:gd name="T167" fmla="*/ 722 h 463"/>
                <a:gd name="T168" fmla="+- 0 6261 5822"/>
                <a:gd name="T169" fmla="*/ T168 w 451"/>
                <a:gd name="T170" fmla="+- 0 659 354"/>
                <a:gd name="T171" fmla="*/ 659 h 463"/>
                <a:gd name="T172" fmla="+- 0 6272 5822"/>
                <a:gd name="T173" fmla="*/ T172 w 451"/>
                <a:gd name="T174" fmla="+- 0 586 354"/>
                <a:gd name="T175" fmla="*/ 586 h 463"/>
                <a:gd name="T176" fmla="+- 0 6261 5822"/>
                <a:gd name="T177" fmla="*/ T176 w 451"/>
                <a:gd name="T178" fmla="+- 0 513 354"/>
                <a:gd name="T179" fmla="*/ 513 h 463"/>
                <a:gd name="T180" fmla="+- 0 6229 5822"/>
                <a:gd name="T181" fmla="*/ T180 w 451"/>
                <a:gd name="T182" fmla="+- 0 449 354"/>
                <a:gd name="T183" fmla="*/ 449 h 463"/>
                <a:gd name="T184" fmla="+- 0 6180 5822"/>
                <a:gd name="T185" fmla="*/ T184 w 451"/>
                <a:gd name="T186" fmla="+- 0 399 354"/>
                <a:gd name="T187" fmla="*/ 399 h 463"/>
                <a:gd name="T188" fmla="+- 0 6129 5822"/>
                <a:gd name="T189" fmla="*/ T188 w 451"/>
                <a:gd name="T190" fmla="+- 0 372 354"/>
                <a:gd name="T191" fmla="*/ 372 h 463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  <a:cxn ang="0">
                  <a:pos x="T117" y="T119"/>
                </a:cxn>
                <a:cxn ang="0">
                  <a:pos x="T121" y="T123"/>
                </a:cxn>
                <a:cxn ang="0">
                  <a:pos x="T125" y="T127"/>
                </a:cxn>
                <a:cxn ang="0">
                  <a:pos x="T129" y="T131"/>
                </a:cxn>
                <a:cxn ang="0">
                  <a:pos x="T133" y="T135"/>
                </a:cxn>
                <a:cxn ang="0">
                  <a:pos x="T137" y="T139"/>
                </a:cxn>
                <a:cxn ang="0">
                  <a:pos x="T141" y="T143"/>
                </a:cxn>
                <a:cxn ang="0">
                  <a:pos x="T145" y="T147"/>
                </a:cxn>
                <a:cxn ang="0">
                  <a:pos x="T149" y="T151"/>
                </a:cxn>
                <a:cxn ang="0">
                  <a:pos x="T153" y="T155"/>
                </a:cxn>
                <a:cxn ang="0">
                  <a:pos x="T157" y="T159"/>
                </a:cxn>
                <a:cxn ang="0">
                  <a:pos x="T161" y="T163"/>
                </a:cxn>
                <a:cxn ang="0">
                  <a:pos x="T165" y="T167"/>
                </a:cxn>
                <a:cxn ang="0">
                  <a:pos x="T169" y="T171"/>
                </a:cxn>
                <a:cxn ang="0">
                  <a:pos x="T173" y="T175"/>
                </a:cxn>
                <a:cxn ang="0">
                  <a:pos x="T177" y="T179"/>
                </a:cxn>
                <a:cxn ang="0">
                  <a:pos x="T181" y="T183"/>
                </a:cxn>
                <a:cxn ang="0">
                  <a:pos x="T185" y="T187"/>
                </a:cxn>
                <a:cxn ang="0">
                  <a:pos x="T189" y="T191"/>
                </a:cxn>
              </a:cxnLst>
              <a:rect l="0" t="0" r="r" b="b"/>
              <a:pathLst>
                <a:path w="451" h="463">
                  <a:moveTo>
                    <a:pt x="225" y="0"/>
                  </a:moveTo>
                  <a:lnTo>
                    <a:pt x="154" y="12"/>
                  </a:lnTo>
                  <a:lnTo>
                    <a:pt x="92" y="45"/>
                  </a:lnTo>
                  <a:lnTo>
                    <a:pt x="43" y="95"/>
                  </a:lnTo>
                  <a:lnTo>
                    <a:pt x="11" y="159"/>
                  </a:lnTo>
                  <a:lnTo>
                    <a:pt x="0" y="232"/>
                  </a:lnTo>
                  <a:lnTo>
                    <a:pt x="11" y="305"/>
                  </a:lnTo>
                  <a:lnTo>
                    <a:pt x="43" y="368"/>
                  </a:lnTo>
                  <a:lnTo>
                    <a:pt x="92" y="418"/>
                  </a:lnTo>
                  <a:lnTo>
                    <a:pt x="154" y="451"/>
                  </a:lnTo>
                  <a:lnTo>
                    <a:pt x="225" y="463"/>
                  </a:lnTo>
                  <a:lnTo>
                    <a:pt x="296" y="451"/>
                  </a:lnTo>
                  <a:lnTo>
                    <a:pt x="307" y="446"/>
                  </a:lnTo>
                  <a:lnTo>
                    <a:pt x="225" y="446"/>
                  </a:lnTo>
                  <a:lnTo>
                    <a:pt x="159" y="435"/>
                  </a:lnTo>
                  <a:lnTo>
                    <a:pt x="102" y="404"/>
                  </a:lnTo>
                  <a:lnTo>
                    <a:pt x="57" y="358"/>
                  </a:lnTo>
                  <a:lnTo>
                    <a:pt x="27" y="299"/>
                  </a:lnTo>
                  <a:lnTo>
                    <a:pt x="17" y="232"/>
                  </a:lnTo>
                  <a:lnTo>
                    <a:pt x="27" y="164"/>
                  </a:lnTo>
                  <a:lnTo>
                    <a:pt x="57" y="106"/>
                  </a:lnTo>
                  <a:lnTo>
                    <a:pt x="102" y="59"/>
                  </a:lnTo>
                  <a:lnTo>
                    <a:pt x="159" y="29"/>
                  </a:lnTo>
                  <a:lnTo>
                    <a:pt x="225" y="18"/>
                  </a:lnTo>
                  <a:lnTo>
                    <a:pt x="307" y="18"/>
                  </a:lnTo>
                  <a:lnTo>
                    <a:pt x="296" y="12"/>
                  </a:lnTo>
                  <a:lnTo>
                    <a:pt x="225" y="0"/>
                  </a:lnTo>
                  <a:close/>
                  <a:moveTo>
                    <a:pt x="307" y="18"/>
                  </a:moveTo>
                  <a:lnTo>
                    <a:pt x="225" y="18"/>
                  </a:lnTo>
                  <a:lnTo>
                    <a:pt x="291" y="29"/>
                  </a:lnTo>
                  <a:lnTo>
                    <a:pt x="348" y="59"/>
                  </a:lnTo>
                  <a:lnTo>
                    <a:pt x="393" y="106"/>
                  </a:lnTo>
                  <a:lnTo>
                    <a:pt x="423" y="164"/>
                  </a:lnTo>
                  <a:lnTo>
                    <a:pt x="433" y="232"/>
                  </a:lnTo>
                  <a:lnTo>
                    <a:pt x="423" y="299"/>
                  </a:lnTo>
                  <a:lnTo>
                    <a:pt x="393" y="358"/>
                  </a:lnTo>
                  <a:lnTo>
                    <a:pt x="348" y="404"/>
                  </a:lnTo>
                  <a:lnTo>
                    <a:pt x="291" y="435"/>
                  </a:lnTo>
                  <a:lnTo>
                    <a:pt x="225" y="446"/>
                  </a:lnTo>
                  <a:lnTo>
                    <a:pt x="307" y="446"/>
                  </a:lnTo>
                  <a:lnTo>
                    <a:pt x="358" y="418"/>
                  </a:lnTo>
                  <a:lnTo>
                    <a:pt x="407" y="368"/>
                  </a:lnTo>
                  <a:lnTo>
                    <a:pt x="439" y="305"/>
                  </a:lnTo>
                  <a:lnTo>
                    <a:pt x="450" y="232"/>
                  </a:lnTo>
                  <a:lnTo>
                    <a:pt x="439" y="159"/>
                  </a:lnTo>
                  <a:lnTo>
                    <a:pt x="407" y="95"/>
                  </a:lnTo>
                  <a:lnTo>
                    <a:pt x="358" y="45"/>
                  </a:lnTo>
                  <a:lnTo>
                    <a:pt x="307" y="18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24" name="Picture 1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3" y="413"/>
              <a:ext cx="295" cy="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Прямоугольник 24"/>
          <p:cNvSpPr/>
          <p:nvPr/>
        </p:nvSpPr>
        <p:spPr>
          <a:xfrm>
            <a:off x="5855067" y="1108055"/>
            <a:ext cx="4625521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>
                <a:solidFill>
                  <a:srgbClr val="2E3232"/>
                </a:solidFill>
                <a:latin typeface="Arial"/>
                <a:ea typeface="Arial"/>
              </a:rPr>
              <a:t>ПРОЕКТОВ МОДЕРНИЗАЦИИ КОММУНАЛЬНОЙ </a:t>
            </a: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ИНФРАСТРУКТУРЫ</a:t>
            </a:r>
            <a:endParaRPr lang="ru-RU" sz="1000" dirty="0">
              <a:latin typeface="Arial"/>
              <a:ea typeface="Arial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953415" y="4901836"/>
            <a:ext cx="4025446" cy="552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5300">
              <a:lnSpc>
                <a:spcPct val="136000"/>
              </a:lnSpc>
              <a:spcBef>
                <a:spcPts val="5"/>
              </a:spcBef>
            </a:pPr>
            <a:r>
              <a:rPr lang="ru-RU" sz="1100" b="1" dirty="0" smtClean="0">
                <a:solidFill>
                  <a:srgbClr val="2E3232"/>
                </a:solidFill>
                <a:latin typeface="Arial"/>
                <a:ea typeface="Arial"/>
              </a:rPr>
              <a:t>СУБЪЕКТОВ</a:t>
            </a:r>
          </a:p>
          <a:p>
            <a:pPr marR="495300">
              <a:lnSpc>
                <a:spcPct val="136000"/>
              </a:lnSpc>
              <a:spcBef>
                <a:spcPts val="5"/>
              </a:spcBef>
            </a:pPr>
            <a:r>
              <a:rPr lang="ru-RU" sz="1100" b="1" dirty="0" smtClean="0">
                <a:solidFill>
                  <a:srgbClr val="2E3232"/>
                </a:solidFill>
                <a:latin typeface="Arial"/>
                <a:ea typeface="Arial"/>
              </a:rPr>
              <a:t>РОССИЙСКОЙ ФЕДЕРАЦИИ</a:t>
            </a:r>
            <a:endParaRPr lang="ru-RU" sz="1100" dirty="0">
              <a:latin typeface="Arial"/>
              <a:ea typeface="Arial"/>
            </a:endParaRPr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6100111" y="1147133"/>
            <a:ext cx="377825" cy="385763"/>
            <a:chOff x="3631" y="186"/>
            <a:chExt cx="594" cy="608"/>
          </a:xfrm>
        </p:grpSpPr>
        <p:pic>
          <p:nvPicPr>
            <p:cNvPr id="39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1" y="286"/>
              <a:ext cx="334" cy="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1" y="527"/>
              <a:ext cx="161" cy="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AutoShape 5"/>
            <p:cNvSpPr>
              <a:spLocks/>
            </p:cNvSpPr>
            <p:nvPr/>
          </p:nvSpPr>
          <p:spPr bwMode="auto">
            <a:xfrm>
              <a:off x="3630" y="386"/>
              <a:ext cx="398" cy="407"/>
            </a:xfrm>
            <a:custGeom>
              <a:avLst/>
              <a:gdLst>
                <a:gd name="T0" fmla="+- 0 3719 3631"/>
                <a:gd name="T1" fmla="*/ T0 w 398"/>
                <a:gd name="T2" fmla="+- 0 387 387"/>
                <a:gd name="T3" fmla="*/ 387 h 407"/>
                <a:gd name="T4" fmla="+- 0 3711 3631"/>
                <a:gd name="T5" fmla="*/ T4 w 398"/>
                <a:gd name="T6" fmla="+- 0 387 387"/>
                <a:gd name="T7" fmla="*/ 387 h 407"/>
                <a:gd name="T8" fmla="+- 0 3631 3631"/>
                <a:gd name="T9" fmla="*/ T8 w 398"/>
                <a:gd name="T10" fmla="+- 0 469 387"/>
                <a:gd name="T11" fmla="*/ 469 h 407"/>
                <a:gd name="T12" fmla="+- 0 3631 3631"/>
                <a:gd name="T13" fmla="*/ T12 w 398"/>
                <a:gd name="T14" fmla="+- 0 477 387"/>
                <a:gd name="T15" fmla="*/ 477 h 407"/>
                <a:gd name="T16" fmla="+- 0 3938 3631"/>
                <a:gd name="T17" fmla="*/ T16 w 398"/>
                <a:gd name="T18" fmla="+- 0 792 387"/>
                <a:gd name="T19" fmla="*/ 792 h 407"/>
                <a:gd name="T20" fmla="+- 0 3941 3631"/>
                <a:gd name="T21" fmla="*/ T20 w 398"/>
                <a:gd name="T22" fmla="+- 0 793 387"/>
                <a:gd name="T23" fmla="*/ 793 h 407"/>
                <a:gd name="T24" fmla="+- 0 3947 3631"/>
                <a:gd name="T25" fmla="*/ T24 w 398"/>
                <a:gd name="T26" fmla="+- 0 793 387"/>
                <a:gd name="T27" fmla="*/ 793 h 407"/>
                <a:gd name="T28" fmla="+- 0 3950 3631"/>
                <a:gd name="T29" fmla="*/ T28 w 398"/>
                <a:gd name="T30" fmla="+- 0 792 387"/>
                <a:gd name="T31" fmla="*/ 792 h 407"/>
                <a:gd name="T32" fmla="+- 0 3979 3631"/>
                <a:gd name="T33" fmla="*/ T32 w 398"/>
                <a:gd name="T34" fmla="+- 0 762 387"/>
                <a:gd name="T35" fmla="*/ 762 h 407"/>
                <a:gd name="T36" fmla="+- 0 3944 3631"/>
                <a:gd name="T37" fmla="*/ T36 w 398"/>
                <a:gd name="T38" fmla="+- 0 762 387"/>
                <a:gd name="T39" fmla="*/ 762 h 407"/>
                <a:gd name="T40" fmla="+- 0 3662 3631"/>
                <a:gd name="T41" fmla="*/ T40 w 398"/>
                <a:gd name="T42" fmla="+- 0 473 387"/>
                <a:gd name="T43" fmla="*/ 473 h 407"/>
                <a:gd name="T44" fmla="+- 0 3715 3631"/>
                <a:gd name="T45" fmla="*/ T44 w 398"/>
                <a:gd name="T46" fmla="+- 0 418 387"/>
                <a:gd name="T47" fmla="*/ 418 h 407"/>
                <a:gd name="T48" fmla="+- 0 3750 3631"/>
                <a:gd name="T49" fmla="*/ T48 w 398"/>
                <a:gd name="T50" fmla="+- 0 418 387"/>
                <a:gd name="T51" fmla="*/ 418 h 407"/>
                <a:gd name="T52" fmla="+- 0 3719 3631"/>
                <a:gd name="T53" fmla="*/ T52 w 398"/>
                <a:gd name="T54" fmla="+- 0 387 387"/>
                <a:gd name="T55" fmla="*/ 387 h 407"/>
                <a:gd name="T56" fmla="+- 0 3750 3631"/>
                <a:gd name="T57" fmla="*/ T56 w 398"/>
                <a:gd name="T58" fmla="+- 0 418 387"/>
                <a:gd name="T59" fmla="*/ 418 h 407"/>
                <a:gd name="T60" fmla="+- 0 3715 3631"/>
                <a:gd name="T61" fmla="*/ T60 w 398"/>
                <a:gd name="T62" fmla="+- 0 418 387"/>
                <a:gd name="T63" fmla="*/ 418 h 407"/>
                <a:gd name="T64" fmla="+- 0 3997 3631"/>
                <a:gd name="T65" fmla="*/ T64 w 398"/>
                <a:gd name="T66" fmla="+- 0 708 387"/>
                <a:gd name="T67" fmla="*/ 708 h 407"/>
                <a:gd name="T68" fmla="+- 0 3944 3631"/>
                <a:gd name="T69" fmla="*/ T68 w 398"/>
                <a:gd name="T70" fmla="+- 0 762 387"/>
                <a:gd name="T71" fmla="*/ 762 h 407"/>
                <a:gd name="T72" fmla="+- 0 3979 3631"/>
                <a:gd name="T73" fmla="*/ T72 w 398"/>
                <a:gd name="T74" fmla="+- 0 762 387"/>
                <a:gd name="T75" fmla="*/ 762 h 407"/>
                <a:gd name="T76" fmla="+- 0 4028 3631"/>
                <a:gd name="T77" fmla="*/ T76 w 398"/>
                <a:gd name="T78" fmla="+- 0 712 387"/>
                <a:gd name="T79" fmla="*/ 712 h 407"/>
                <a:gd name="T80" fmla="+- 0 4028 3631"/>
                <a:gd name="T81" fmla="*/ T80 w 398"/>
                <a:gd name="T82" fmla="+- 0 704 387"/>
                <a:gd name="T83" fmla="*/ 704 h 407"/>
                <a:gd name="T84" fmla="+- 0 3750 3631"/>
                <a:gd name="T85" fmla="*/ T84 w 398"/>
                <a:gd name="T86" fmla="+- 0 418 387"/>
                <a:gd name="T87" fmla="*/ 418 h 407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</a:cxnLst>
              <a:rect l="0" t="0" r="r" b="b"/>
              <a:pathLst>
                <a:path w="398" h="407">
                  <a:moveTo>
                    <a:pt x="88" y="0"/>
                  </a:moveTo>
                  <a:lnTo>
                    <a:pt x="80" y="0"/>
                  </a:lnTo>
                  <a:lnTo>
                    <a:pt x="0" y="82"/>
                  </a:lnTo>
                  <a:lnTo>
                    <a:pt x="0" y="90"/>
                  </a:lnTo>
                  <a:lnTo>
                    <a:pt x="307" y="405"/>
                  </a:lnTo>
                  <a:lnTo>
                    <a:pt x="310" y="406"/>
                  </a:lnTo>
                  <a:lnTo>
                    <a:pt x="316" y="406"/>
                  </a:lnTo>
                  <a:lnTo>
                    <a:pt x="319" y="405"/>
                  </a:lnTo>
                  <a:lnTo>
                    <a:pt x="348" y="375"/>
                  </a:lnTo>
                  <a:lnTo>
                    <a:pt x="313" y="375"/>
                  </a:lnTo>
                  <a:lnTo>
                    <a:pt x="31" y="86"/>
                  </a:lnTo>
                  <a:lnTo>
                    <a:pt x="84" y="31"/>
                  </a:lnTo>
                  <a:lnTo>
                    <a:pt x="119" y="31"/>
                  </a:lnTo>
                  <a:lnTo>
                    <a:pt x="88" y="0"/>
                  </a:lnTo>
                  <a:close/>
                  <a:moveTo>
                    <a:pt x="119" y="31"/>
                  </a:moveTo>
                  <a:lnTo>
                    <a:pt x="84" y="31"/>
                  </a:lnTo>
                  <a:lnTo>
                    <a:pt x="366" y="321"/>
                  </a:lnTo>
                  <a:lnTo>
                    <a:pt x="313" y="375"/>
                  </a:lnTo>
                  <a:lnTo>
                    <a:pt x="348" y="375"/>
                  </a:lnTo>
                  <a:lnTo>
                    <a:pt x="397" y="325"/>
                  </a:lnTo>
                  <a:lnTo>
                    <a:pt x="397" y="317"/>
                  </a:lnTo>
                  <a:lnTo>
                    <a:pt x="119" y="31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55" name="Picture 6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9" y="666"/>
              <a:ext cx="235" cy="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4113" y="286"/>
              <a:ext cx="112" cy="431"/>
            </a:xfrm>
            <a:custGeom>
              <a:avLst/>
              <a:gdLst>
                <a:gd name="T0" fmla="+- 0 4175 4113"/>
                <a:gd name="T1" fmla="*/ T0 w 112"/>
                <a:gd name="T2" fmla="+- 0 286 286"/>
                <a:gd name="T3" fmla="*/ 286 h 431"/>
                <a:gd name="T4" fmla="+- 0 4113 4113"/>
                <a:gd name="T5" fmla="*/ T4 w 112"/>
                <a:gd name="T6" fmla="+- 0 286 286"/>
                <a:gd name="T7" fmla="*/ 286 h 431"/>
                <a:gd name="T8" fmla="+- 0 4113 4113"/>
                <a:gd name="T9" fmla="*/ T8 w 112"/>
                <a:gd name="T10" fmla="+- 0 312 286"/>
                <a:gd name="T11" fmla="*/ 312 h 431"/>
                <a:gd name="T12" fmla="+- 0 4189 4113"/>
                <a:gd name="T13" fmla="*/ T12 w 112"/>
                <a:gd name="T14" fmla="+- 0 312 286"/>
                <a:gd name="T15" fmla="*/ 312 h 431"/>
                <a:gd name="T16" fmla="+- 0 4200 4113"/>
                <a:gd name="T17" fmla="*/ T16 w 112"/>
                <a:gd name="T18" fmla="+- 0 323 286"/>
                <a:gd name="T19" fmla="*/ 323 h 431"/>
                <a:gd name="T20" fmla="+- 0 4200 4113"/>
                <a:gd name="T21" fmla="*/ T20 w 112"/>
                <a:gd name="T22" fmla="+- 0 717 286"/>
                <a:gd name="T23" fmla="*/ 717 h 431"/>
                <a:gd name="T24" fmla="+- 0 4224 4113"/>
                <a:gd name="T25" fmla="*/ T24 w 112"/>
                <a:gd name="T26" fmla="+- 0 717 286"/>
                <a:gd name="T27" fmla="*/ 717 h 431"/>
                <a:gd name="T28" fmla="+- 0 4224 4113"/>
                <a:gd name="T29" fmla="*/ T28 w 112"/>
                <a:gd name="T30" fmla="+- 0 337 286"/>
                <a:gd name="T31" fmla="*/ 337 h 431"/>
                <a:gd name="T32" fmla="+- 0 4221 4113"/>
                <a:gd name="T33" fmla="*/ T32 w 112"/>
                <a:gd name="T34" fmla="+- 0 317 286"/>
                <a:gd name="T35" fmla="*/ 317 h 431"/>
                <a:gd name="T36" fmla="+- 0 4210 4113"/>
                <a:gd name="T37" fmla="*/ T36 w 112"/>
                <a:gd name="T38" fmla="+- 0 301 286"/>
                <a:gd name="T39" fmla="*/ 301 h 431"/>
                <a:gd name="T40" fmla="+- 0 4194 4113"/>
                <a:gd name="T41" fmla="*/ T40 w 112"/>
                <a:gd name="T42" fmla="+- 0 290 286"/>
                <a:gd name="T43" fmla="*/ 290 h 431"/>
                <a:gd name="T44" fmla="+- 0 4175 4113"/>
                <a:gd name="T45" fmla="*/ T44 w 112"/>
                <a:gd name="T46" fmla="+- 0 286 286"/>
                <a:gd name="T47" fmla="*/ 286 h 43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</a:cxnLst>
              <a:rect l="0" t="0" r="r" b="b"/>
              <a:pathLst>
                <a:path w="112" h="431">
                  <a:moveTo>
                    <a:pt x="62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76" y="26"/>
                  </a:lnTo>
                  <a:lnTo>
                    <a:pt x="87" y="37"/>
                  </a:lnTo>
                  <a:lnTo>
                    <a:pt x="87" y="431"/>
                  </a:lnTo>
                  <a:lnTo>
                    <a:pt x="111" y="431"/>
                  </a:lnTo>
                  <a:lnTo>
                    <a:pt x="111" y="51"/>
                  </a:lnTo>
                  <a:lnTo>
                    <a:pt x="108" y="31"/>
                  </a:lnTo>
                  <a:lnTo>
                    <a:pt x="97" y="15"/>
                  </a:lnTo>
                  <a:lnTo>
                    <a:pt x="81" y="4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57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1" y="185"/>
              <a:ext cx="454" cy="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8" name="Text Box 13"/>
          <p:cNvSpPr txBox="1">
            <a:spLocks noChangeArrowheads="1"/>
          </p:cNvSpPr>
          <p:nvPr/>
        </p:nvSpPr>
        <p:spPr bwMode="auto">
          <a:xfrm>
            <a:off x="6748934" y="1171390"/>
            <a:ext cx="4746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34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2810938" y="4985199"/>
            <a:ext cx="325437" cy="312738"/>
            <a:chOff x="5993" y="-56"/>
            <a:chExt cx="511" cy="493"/>
          </a:xfrm>
        </p:grpSpPr>
        <p:sp>
          <p:nvSpPr>
            <p:cNvPr id="60" name="AutoShape 16"/>
            <p:cNvSpPr>
              <a:spLocks/>
            </p:cNvSpPr>
            <p:nvPr/>
          </p:nvSpPr>
          <p:spPr bwMode="auto">
            <a:xfrm>
              <a:off x="5993" y="148"/>
              <a:ext cx="511" cy="288"/>
            </a:xfrm>
            <a:custGeom>
              <a:avLst/>
              <a:gdLst>
                <a:gd name="T0" fmla="+- 0 6136 5993"/>
                <a:gd name="T1" fmla="*/ T0 w 511"/>
                <a:gd name="T2" fmla="+- 0 149 149"/>
                <a:gd name="T3" fmla="*/ 149 h 288"/>
                <a:gd name="T4" fmla="+- 0 6030 5993"/>
                <a:gd name="T5" fmla="*/ T4 w 511"/>
                <a:gd name="T6" fmla="+- 0 149 149"/>
                <a:gd name="T7" fmla="*/ 149 h 288"/>
                <a:gd name="T8" fmla="+- 0 5993 5993"/>
                <a:gd name="T9" fmla="*/ T8 w 511"/>
                <a:gd name="T10" fmla="+- 0 436 149"/>
                <a:gd name="T11" fmla="*/ 436 h 288"/>
                <a:gd name="T12" fmla="+- 0 6504 5993"/>
                <a:gd name="T13" fmla="*/ T12 w 511"/>
                <a:gd name="T14" fmla="+- 0 436 149"/>
                <a:gd name="T15" fmla="*/ 436 h 288"/>
                <a:gd name="T16" fmla="+- 0 6502 5993"/>
                <a:gd name="T17" fmla="*/ T16 w 511"/>
                <a:gd name="T18" fmla="+- 0 418 149"/>
                <a:gd name="T19" fmla="*/ 418 h 288"/>
                <a:gd name="T20" fmla="+- 0 6014 5993"/>
                <a:gd name="T21" fmla="*/ T20 w 511"/>
                <a:gd name="T22" fmla="+- 0 418 149"/>
                <a:gd name="T23" fmla="*/ 418 h 288"/>
                <a:gd name="T24" fmla="+- 0 6046 5993"/>
                <a:gd name="T25" fmla="*/ T24 w 511"/>
                <a:gd name="T26" fmla="+- 0 167 149"/>
                <a:gd name="T27" fmla="*/ 167 h 288"/>
                <a:gd name="T28" fmla="+- 0 6136 5993"/>
                <a:gd name="T29" fmla="*/ T28 w 511"/>
                <a:gd name="T30" fmla="+- 0 167 149"/>
                <a:gd name="T31" fmla="*/ 167 h 288"/>
                <a:gd name="T32" fmla="+- 0 6140 5993"/>
                <a:gd name="T33" fmla="*/ T32 w 511"/>
                <a:gd name="T34" fmla="+- 0 163 149"/>
                <a:gd name="T35" fmla="*/ 163 h 288"/>
                <a:gd name="T36" fmla="+- 0 6140 5993"/>
                <a:gd name="T37" fmla="*/ T36 w 511"/>
                <a:gd name="T38" fmla="+- 0 153 149"/>
                <a:gd name="T39" fmla="*/ 153 h 288"/>
                <a:gd name="T40" fmla="+- 0 6136 5993"/>
                <a:gd name="T41" fmla="*/ T40 w 511"/>
                <a:gd name="T42" fmla="+- 0 149 149"/>
                <a:gd name="T43" fmla="*/ 149 h 288"/>
                <a:gd name="T44" fmla="+- 0 6473 5993"/>
                <a:gd name="T45" fmla="*/ T44 w 511"/>
                <a:gd name="T46" fmla="+- 0 149 149"/>
                <a:gd name="T47" fmla="*/ 149 h 288"/>
                <a:gd name="T48" fmla="+- 0 6367 5993"/>
                <a:gd name="T49" fmla="*/ T48 w 511"/>
                <a:gd name="T50" fmla="+- 0 149 149"/>
                <a:gd name="T51" fmla="*/ 149 h 288"/>
                <a:gd name="T52" fmla="+- 0 6363 5993"/>
                <a:gd name="T53" fmla="*/ T52 w 511"/>
                <a:gd name="T54" fmla="+- 0 153 149"/>
                <a:gd name="T55" fmla="*/ 153 h 288"/>
                <a:gd name="T56" fmla="+- 0 6363 5993"/>
                <a:gd name="T57" fmla="*/ T56 w 511"/>
                <a:gd name="T58" fmla="+- 0 163 149"/>
                <a:gd name="T59" fmla="*/ 163 h 288"/>
                <a:gd name="T60" fmla="+- 0 6367 5993"/>
                <a:gd name="T61" fmla="*/ T60 w 511"/>
                <a:gd name="T62" fmla="+- 0 167 149"/>
                <a:gd name="T63" fmla="*/ 167 h 288"/>
                <a:gd name="T64" fmla="+- 0 6456 5993"/>
                <a:gd name="T65" fmla="*/ T64 w 511"/>
                <a:gd name="T66" fmla="+- 0 167 149"/>
                <a:gd name="T67" fmla="*/ 167 h 288"/>
                <a:gd name="T68" fmla="+- 0 6483 5993"/>
                <a:gd name="T69" fmla="*/ T68 w 511"/>
                <a:gd name="T70" fmla="+- 0 418 149"/>
                <a:gd name="T71" fmla="*/ 418 h 288"/>
                <a:gd name="T72" fmla="+- 0 6502 5993"/>
                <a:gd name="T73" fmla="*/ T72 w 511"/>
                <a:gd name="T74" fmla="+- 0 418 149"/>
                <a:gd name="T75" fmla="*/ 418 h 288"/>
                <a:gd name="T76" fmla="+- 0 6473 5993"/>
                <a:gd name="T77" fmla="*/ T76 w 511"/>
                <a:gd name="T78" fmla="+- 0 149 149"/>
                <a:gd name="T79" fmla="*/ 149 h 2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</a:cxnLst>
              <a:rect l="0" t="0" r="r" b="b"/>
              <a:pathLst>
                <a:path w="511" h="288">
                  <a:moveTo>
                    <a:pt x="143" y="0"/>
                  </a:moveTo>
                  <a:lnTo>
                    <a:pt x="37" y="0"/>
                  </a:lnTo>
                  <a:lnTo>
                    <a:pt x="0" y="287"/>
                  </a:lnTo>
                  <a:lnTo>
                    <a:pt x="511" y="287"/>
                  </a:lnTo>
                  <a:lnTo>
                    <a:pt x="509" y="269"/>
                  </a:lnTo>
                  <a:lnTo>
                    <a:pt x="21" y="269"/>
                  </a:lnTo>
                  <a:lnTo>
                    <a:pt x="53" y="18"/>
                  </a:lnTo>
                  <a:lnTo>
                    <a:pt x="143" y="18"/>
                  </a:lnTo>
                  <a:lnTo>
                    <a:pt x="147" y="14"/>
                  </a:lnTo>
                  <a:lnTo>
                    <a:pt x="147" y="4"/>
                  </a:lnTo>
                  <a:lnTo>
                    <a:pt x="143" y="0"/>
                  </a:lnTo>
                  <a:close/>
                  <a:moveTo>
                    <a:pt x="480" y="0"/>
                  </a:moveTo>
                  <a:lnTo>
                    <a:pt x="374" y="0"/>
                  </a:lnTo>
                  <a:lnTo>
                    <a:pt x="370" y="4"/>
                  </a:lnTo>
                  <a:lnTo>
                    <a:pt x="370" y="14"/>
                  </a:lnTo>
                  <a:lnTo>
                    <a:pt x="374" y="18"/>
                  </a:lnTo>
                  <a:lnTo>
                    <a:pt x="463" y="18"/>
                  </a:lnTo>
                  <a:lnTo>
                    <a:pt x="490" y="269"/>
                  </a:lnTo>
                  <a:lnTo>
                    <a:pt x="509" y="269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1F55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61" name="Picture 17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5" y="-56"/>
              <a:ext cx="391" cy="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Text Box 18"/>
          <p:cNvSpPr txBox="1">
            <a:spLocks noChangeArrowheads="1"/>
          </p:cNvSpPr>
          <p:nvPr/>
        </p:nvSpPr>
        <p:spPr bwMode="auto">
          <a:xfrm>
            <a:off x="3321994" y="4927845"/>
            <a:ext cx="52025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14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4917986" y="2526931"/>
            <a:ext cx="3006058" cy="287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5300">
              <a:lnSpc>
                <a:spcPct val="136000"/>
              </a:lnSpc>
            </a:pPr>
            <a:r>
              <a:rPr lang="ru-RU" sz="1050" b="1" dirty="0" smtClean="0">
                <a:solidFill>
                  <a:srgbClr val="2E3232"/>
                </a:solidFill>
                <a:latin typeface="Arial"/>
                <a:ea typeface="Arial"/>
              </a:rPr>
              <a:t>ПРОЕКТОВ ВОДООТВЕДЕНИЯ</a:t>
            </a:r>
            <a:endParaRPr lang="ru-RU" sz="1050" dirty="0">
              <a:latin typeface="Arial"/>
              <a:ea typeface="Arial"/>
            </a:endParaRPr>
          </a:p>
        </p:txBody>
      </p:sp>
      <p:sp>
        <p:nvSpPr>
          <p:cNvPr id="64" name="Text Box 18"/>
          <p:cNvSpPr txBox="1">
            <a:spLocks noChangeArrowheads="1"/>
          </p:cNvSpPr>
          <p:nvPr/>
        </p:nvSpPr>
        <p:spPr bwMode="auto">
          <a:xfrm>
            <a:off x="4394099" y="2480474"/>
            <a:ext cx="674456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15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836077" y="3332450"/>
            <a:ext cx="2943664" cy="322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5300">
              <a:lnSpc>
                <a:spcPct val="136000"/>
              </a:lnSpc>
              <a:spcBef>
                <a:spcPts val="5"/>
              </a:spcBef>
            </a:pPr>
            <a:r>
              <a:rPr lang="ru-RU" sz="1100" b="1" dirty="0" smtClean="0">
                <a:solidFill>
                  <a:srgbClr val="2E3232"/>
                </a:solidFill>
                <a:latin typeface="Arial"/>
                <a:ea typeface="Arial"/>
              </a:rPr>
              <a:t>ПРОЕКТОВ ТЕПЛОСНАБЖЕНИЯ</a:t>
            </a:r>
            <a:endParaRPr lang="ru-RU" sz="1100" dirty="0">
              <a:latin typeface="Arial"/>
              <a:ea typeface="Arial"/>
            </a:endParaRPr>
          </a:p>
        </p:txBody>
      </p:sp>
      <p:sp>
        <p:nvSpPr>
          <p:cNvPr id="66" name="Text Box 18"/>
          <p:cNvSpPr txBox="1">
            <a:spLocks noChangeArrowheads="1"/>
          </p:cNvSpPr>
          <p:nvPr/>
        </p:nvSpPr>
        <p:spPr bwMode="auto">
          <a:xfrm>
            <a:off x="3307700" y="3282127"/>
            <a:ext cx="58692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19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988703" y="953285"/>
            <a:ext cx="4183624" cy="1222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endParaRPr lang="ru-RU" sz="800" b="1" dirty="0" smtClean="0">
              <a:solidFill>
                <a:srgbClr val="2E3232"/>
              </a:solidFill>
              <a:latin typeface="Arial"/>
              <a:ea typeface="Arial"/>
            </a:endParaRP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ОБЩАЯ </a:t>
            </a: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СТОИМОСТЬ ПРОЕКТОВ</a:t>
            </a: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endParaRPr lang="ru-RU" sz="800" b="1" dirty="0" smtClean="0">
              <a:solidFill>
                <a:srgbClr val="2E3232"/>
              </a:solidFill>
              <a:latin typeface="Arial"/>
              <a:ea typeface="Arial"/>
            </a:endParaRP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endParaRPr lang="ru-RU" sz="800" b="1" dirty="0" smtClean="0">
              <a:solidFill>
                <a:srgbClr val="2E3232"/>
              </a:solidFill>
              <a:latin typeface="Arial"/>
              <a:ea typeface="Arial"/>
            </a:endParaRP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СРЕДСТВА ФОНДА ЖКХ</a:t>
            </a:r>
          </a:p>
        </p:txBody>
      </p:sp>
      <p:sp>
        <p:nvSpPr>
          <p:cNvPr id="68" name="Text Box 13"/>
          <p:cNvSpPr txBox="1">
            <a:spLocks noChangeArrowheads="1"/>
          </p:cNvSpPr>
          <p:nvPr/>
        </p:nvSpPr>
        <p:spPr bwMode="auto">
          <a:xfrm>
            <a:off x="1183177" y="1107298"/>
            <a:ext cx="206253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8,5 </a:t>
            </a:r>
            <a:r>
              <a:rPr lang="ru-RU" sz="12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млрд.руб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 Box 13"/>
          <p:cNvSpPr txBox="1">
            <a:spLocks noChangeArrowheads="1"/>
          </p:cNvSpPr>
          <p:nvPr/>
        </p:nvSpPr>
        <p:spPr bwMode="auto">
          <a:xfrm>
            <a:off x="1174938" y="1725590"/>
            <a:ext cx="2120195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4,5 </a:t>
            </a:r>
            <a:r>
              <a:rPr lang="ru-RU" sz="12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млрд.руб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22029" y="5742146"/>
            <a:ext cx="99295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100" b="1" i="0" u="none" strike="noStrike" kern="1200" baseline="0">
                <a:solidFill>
                  <a:prstClr val="black"/>
                </a:solidFill>
                <a:latin typeface="Georgia" pitchFamily="18" charset="0"/>
                <a:ea typeface="+mn-ea"/>
                <a:cs typeface="+mn-cs"/>
              </a:defRPr>
            </a:pPr>
            <a:r>
              <a:rPr lang="ru-RU" sz="1200" dirty="0" smtClean="0">
                <a:solidFill>
                  <a:srgbClr val="99CC0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* -  накопительным итогом с начала 2019 года (по информации на 10 марта 2020 г.)</a:t>
            </a:r>
            <a:endParaRPr lang="ru-RU" sz="1200" dirty="0">
              <a:solidFill>
                <a:srgbClr val="99CC00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37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7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833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Группа 25"/>
          <p:cNvGrpSpPr/>
          <p:nvPr/>
        </p:nvGrpSpPr>
        <p:grpSpPr>
          <a:xfrm>
            <a:off x="2030622" y="1252151"/>
            <a:ext cx="7632362" cy="4020060"/>
            <a:chOff x="535147" y="1733477"/>
            <a:chExt cx="3317700" cy="1907025"/>
          </a:xfrm>
        </p:grpSpPr>
        <p:pic>
          <p:nvPicPr>
            <p:cNvPr id="30" name="Picture 4" descr="https://www.original.in.ua/layout/rus_of.png.pagespeed.ce.HThyh5maI3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147" y="1733477"/>
              <a:ext cx="3317700" cy="1907025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2" name="Группа 31"/>
            <p:cNvGrpSpPr/>
            <p:nvPr/>
          </p:nvGrpSpPr>
          <p:grpSpPr>
            <a:xfrm>
              <a:off x="823440" y="2232526"/>
              <a:ext cx="2581245" cy="1029236"/>
              <a:chOff x="768315" y="2265184"/>
              <a:chExt cx="2581245" cy="1029236"/>
            </a:xfrm>
          </p:grpSpPr>
          <p:pic>
            <p:nvPicPr>
              <p:cNvPr id="40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90267" y="2265184"/>
                <a:ext cx="280153" cy="28015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94247" y="2944300"/>
                <a:ext cx="350120" cy="350120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1448" y="2877252"/>
                <a:ext cx="278112" cy="278112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6" descr="https://images.ru.prom.st/521197178_w640_h640_factory_yellow_256_792796559.png"/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8315" y="2665216"/>
                <a:ext cx="253175" cy="253175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4" descr="https://image.flaticon.com/icons/png/512/590/590415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97286" y="2362038"/>
                <a:ext cx="259658" cy="259658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7" name="Title 1"/>
          <p:cNvSpPr txBox="1">
            <a:spLocks/>
          </p:cNvSpPr>
          <p:nvPr/>
        </p:nvSpPr>
        <p:spPr>
          <a:xfrm>
            <a:off x="176540" y="-16120"/>
            <a:ext cx="9000000" cy="861565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Планируемые заявки в Фонд от Субъектов РФ* 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1" name="Group 9"/>
          <p:cNvGrpSpPr>
            <a:grpSpLocks/>
          </p:cNvGrpSpPr>
          <p:nvPr/>
        </p:nvGrpSpPr>
        <p:grpSpPr bwMode="auto">
          <a:xfrm>
            <a:off x="727508" y="1521278"/>
            <a:ext cx="365125" cy="376237"/>
            <a:chOff x="5759" y="291"/>
            <a:chExt cx="576" cy="591"/>
          </a:xfrm>
        </p:grpSpPr>
        <p:sp>
          <p:nvSpPr>
            <p:cNvPr id="22" name="AutoShape 10"/>
            <p:cNvSpPr>
              <a:spLocks/>
            </p:cNvSpPr>
            <p:nvPr/>
          </p:nvSpPr>
          <p:spPr bwMode="auto">
            <a:xfrm>
              <a:off x="5759" y="290"/>
              <a:ext cx="576" cy="591"/>
            </a:xfrm>
            <a:custGeom>
              <a:avLst/>
              <a:gdLst>
                <a:gd name="T0" fmla="+- 0 5990 5759"/>
                <a:gd name="T1" fmla="*/ T0 w 576"/>
                <a:gd name="T2" fmla="+- 0 296 291"/>
                <a:gd name="T3" fmla="*/ 296 h 591"/>
                <a:gd name="T4" fmla="+- 0 5887 5759"/>
                <a:gd name="T5" fmla="*/ T4 w 576"/>
                <a:gd name="T6" fmla="+- 0 340 291"/>
                <a:gd name="T7" fmla="*/ 340 h 591"/>
                <a:gd name="T8" fmla="+- 0 5807 5759"/>
                <a:gd name="T9" fmla="*/ T8 w 576"/>
                <a:gd name="T10" fmla="+- 0 422 291"/>
                <a:gd name="T11" fmla="*/ 422 h 591"/>
                <a:gd name="T12" fmla="+- 0 5765 5759"/>
                <a:gd name="T13" fmla="*/ T12 w 576"/>
                <a:gd name="T14" fmla="+- 0 528 291"/>
                <a:gd name="T15" fmla="*/ 528 h 591"/>
                <a:gd name="T16" fmla="+- 0 5765 5759"/>
                <a:gd name="T17" fmla="*/ T16 w 576"/>
                <a:gd name="T18" fmla="+- 0 644 291"/>
                <a:gd name="T19" fmla="*/ 644 h 591"/>
                <a:gd name="T20" fmla="+- 0 5807 5759"/>
                <a:gd name="T21" fmla="*/ T20 w 576"/>
                <a:gd name="T22" fmla="+- 0 749 291"/>
                <a:gd name="T23" fmla="*/ 749 h 591"/>
                <a:gd name="T24" fmla="+- 0 5887 5759"/>
                <a:gd name="T25" fmla="*/ T24 w 576"/>
                <a:gd name="T26" fmla="+- 0 831 291"/>
                <a:gd name="T27" fmla="*/ 831 h 591"/>
                <a:gd name="T28" fmla="+- 0 5990 5759"/>
                <a:gd name="T29" fmla="*/ T28 w 576"/>
                <a:gd name="T30" fmla="+- 0 875 291"/>
                <a:gd name="T31" fmla="*/ 875 h 591"/>
                <a:gd name="T32" fmla="+- 0 6103 5759"/>
                <a:gd name="T33" fmla="*/ T32 w 576"/>
                <a:gd name="T34" fmla="+- 0 875 291"/>
                <a:gd name="T35" fmla="*/ 875 h 591"/>
                <a:gd name="T36" fmla="+- 0 6047 5759"/>
                <a:gd name="T37" fmla="*/ T36 w 576"/>
                <a:gd name="T38" fmla="+- 0 863 291"/>
                <a:gd name="T39" fmla="*/ 863 h 591"/>
                <a:gd name="T40" fmla="+- 0 5943 5759"/>
                <a:gd name="T41" fmla="*/ T40 w 576"/>
                <a:gd name="T42" fmla="+- 0 842 291"/>
                <a:gd name="T43" fmla="*/ 842 h 591"/>
                <a:gd name="T44" fmla="+- 0 5856 5759"/>
                <a:gd name="T45" fmla="*/ T44 w 576"/>
                <a:gd name="T46" fmla="+- 0 782 291"/>
                <a:gd name="T47" fmla="*/ 782 h 591"/>
                <a:gd name="T48" fmla="+- 0 5797 5759"/>
                <a:gd name="T49" fmla="*/ T48 w 576"/>
                <a:gd name="T50" fmla="+- 0 692 291"/>
                <a:gd name="T51" fmla="*/ 692 h 591"/>
                <a:gd name="T52" fmla="+- 0 5776 5759"/>
                <a:gd name="T53" fmla="*/ T52 w 576"/>
                <a:gd name="T54" fmla="+- 0 586 291"/>
                <a:gd name="T55" fmla="*/ 586 h 591"/>
                <a:gd name="T56" fmla="+- 0 5797 5759"/>
                <a:gd name="T57" fmla="*/ T56 w 576"/>
                <a:gd name="T58" fmla="+- 0 479 291"/>
                <a:gd name="T59" fmla="*/ 479 h 591"/>
                <a:gd name="T60" fmla="+- 0 5856 5759"/>
                <a:gd name="T61" fmla="*/ T60 w 576"/>
                <a:gd name="T62" fmla="+- 0 389 291"/>
                <a:gd name="T63" fmla="*/ 389 h 591"/>
                <a:gd name="T64" fmla="+- 0 5943 5759"/>
                <a:gd name="T65" fmla="*/ T64 w 576"/>
                <a:gd name="T66" fmla="+- 0 329 291"/>
                <a:gd name="T67" fmla="*/ 329 h 591"/>
                <a:gd name="T68" fmla="+- 0 6047 5759"/>
                <a:gd name="T69" fmla="*/ T68 w 576"/>
                <a:gd name="T70" fmla="+- 0 308 291"/>
                <a:gd name="T71" fmla="*/ 308 h 591"/>
                <a:gd name="T72" fmla="+- 0 6122 5759"/>
                <a:gd name="T73" fmla="*/ T72 w 576"/>
                <a:gd name="T74" fmla="+- 0 301 291"/>
                <a:gd name="T75" fmla="*/ 301 h 591"/>
                <a:gd name="T76" fmla="+- 0 6047 5759"/>
                <a:gd name="T77" fmla="*/ T76 w 576"/>
                <a:gd name="T78" fmla="+- 0 291 291"/>
                <a:gd name="T79" fmla="*/ 291 h 591"/>
                <a:gd name="T80" fmla="+- 0 6297 5759"/>
                <a:gd name="T81" fmla="*/ T80 w 576"/>
                <a:gd name="T82" fmla="+- 0 469 291"/>
                <a:gd name="T83" fmla="*/ 469 h 591"/>
                <a:gd name="T84" fmla="+- 0 6296 5759"/>
                <a:gd name="T85" fmla="*/ T84 w 576"/>
                <a:gd name="T86" fmla="+- 0 478 291"/>
                <a:gd name="T87" fmla="*/ 478 h 591"/>
                <a:gd name="T88" fmla="+- 0 6312 5759"/>
                <a:gd name="T89" fmla="*/ T88 w 576"/>
                <a:gd name="T90" fmla="+- 0 531 291"/>
                <a:gd name="T91" fmla="*/ 531 h 591"/>
                <a:gd name="T92" fmla="+- 0 6317 5759"/>
                <a:gd name="T93" fmla="*/ T92 w 576"/>
                <a:gd name="T94" fmla="+- 0 586 291"/>
                <a:gd name="T95" fmla="*/ 586 h 591"/>
                <a:gd name="T96" fmla="+- 0 6297 5759"/>
                <a:gd name="T97" fmla="*/ T96 w 576"/>
                <a:gd name="T98" fmla="+- 0 692 291"/>
                <a:gd name="T99" fmla="*/ 692 h 591"/>
                <a:gd name="T100" fmla="+- 0 6238 5759"/>
                <a:gd name="T101" fmla="*/ T100 w 576"/>
                <a:gd name="T102" fmla="+- 0 782 291"/>
                <a:gd name="T103" fmla="*/ 782 h 591"/>
                <a:gd name="T104" fmla="+- 0 6151 5759"/>
                <a:gd name="T105" fmla="*/ T104 w 576"/>
                <a:gd name="T106" fmla="+- 0 842 291"/>
                <a:gd name="T107" fmla="*/ 842 h 591"/>
                <a:gd name="T108" fmla="+- 0 6047 5759"/>
                <a:gd name="T109" fmla="*/ T108 w 576"/>
                <a:gd name="T110" fmla="+- 0 863 291"/>
                <a:gd name="T111" fmla="*/ 863 h 591"/>
                <a:gd name="T112" fmla="+- 0 6157 5759"/>
                <a:gd name="T113" fmla="*/ T112 w 576"/>
                <a:gd name="T114" fmla="+- 0 859 291"/>
                <a:gd name="T115" fmla="*/ 859 h 591"/>
                <a:gd name="T116" fmla="+- 0 6250 5759"/>
                <a:gd name="T117" fmla="*/ T116 w 576"/>
                <a:gd name="T118" fmla="+- 0 794 291"/>
                <a:gd name="T119" fmla="*/ 794 h 591"/>
                <a:gd name="T120" fmla="+- 0 6313 5759"/>
                <a:gd name="T121" fmla="*/ T120 w 576"/>
                <a:gd name="T122" fmla="+- 0 699 291"/>
                <a:gd name="T123" fmla="*/ 699 h 591"/>
                <a:gd name="T124" fmla="+- 0 6335 5759"/>
                <a:gd name="T125" fmla="*/ T124 w 576"/>
                <a:gd name="T126" fmla="+- 0 586 291"/>
                <a:gd name="T127" fmla="*/ 586 h 591"/>
                <a:gd name="T128" fmla="+- 0 6329 5759"/>
                <a:gd name="T129" fmla="*/ T128 w 576"/>
                <a:gd name="T130" fmla="+- 0 527 291"/>
                <a:gd name="T131" fmla="*/ 527 h 591"/>
                <a:gd name="T132" fmla="+- 0 6312 5759"/>
                <a:gd name="T133" fmla="*/ T132 w 576"/>
                <a:gd name="T134" fmla="+- 0 471 291"/>
                <a:gd name="T135" fmla="*/ 471 h 591"/>
                <a:gd name="T136" fmla="+- 0 6305 5759"/>
                <a:gd name="T137" fmla="*/ T136 w 576"/>
                <a:gd name="T138" fmla="+- 0 465 291"/>
                <a:gd name="T139" fmla="*/ 465 h 591"/>
                <a:gd name="T140" fmla="+- 0 6047 5759"/>
                <a:gd name="T141" fmla="*/ T140 w 576"/>
                <a:gd name="T142" fmla="+- 0 308 291"/>
                <a:gd name="T143" fmla="*/ 308 h 591"/>
                <a:gd name="T144" fmla="+- 0 6118 5759"/>
                <a:gd name="T145" fmla="*/ T144 w 576"/>
                <a:gd name="T146" fmla="+- 0 318 291"/>
                <a:gd name="T147" fmla="*/ 318 h 591"/>
                <a:gd name="T148" fmla="+- 0 6184 5759"/>
                <a:gd name="T149" fmla="*/ T148 w 576"/>
                <a:gd name="T150" fmla="+- 0 346 291"/>
                <a:gd name="T151" fmla="*/ 346 h 591"/>
                <a:gd name="T152" fmla="+- 0 6239 5759"/>
                <a:gd name="T153" fmla="*/ T152 w 576"/>
                <a:gd name="T154" fmla="+- 0 390 291"/>
                <a:gd name="T155" fmla="*/ 390 h 591"/>
                <a:gd name="T156" fmla="+- 0 6281 5759"/>
                <a:gd name="T157" fmla="*/ T156 w 576"/>
                <a:gd name="T158" fmla="+- 0 446 291"/>
                <a:gd name="T159" fmla="*/ 446 h 591"/>
                <a:gd name="T160" fmla="+- 0 6288 5759"/>
                <a:gd name="T161" fmla="*/ T160 w 576"/>
                <a:gd name="T162" fmla="+- 0 452 291"/>
                <a:gd name="T163" fmla="*/ 452 h 591"/>
                <a:gd name="T164" fmla="+- 0 6298 5759"/>
                <a:gd name="T165" fmla="*/ T164 w 576"/>
                <a:gd name="T166" fmla="+- 0 442 291"/>
                <a:gd name="T167" fmla="*/ 442 h 591"/>
                <a:gd name="T168" fmla="+- 0 6275 5759"/>
                <a:gd name="T169" fmla="*/ T168 w 576"/>
                <a:gd name="T170" fmla="+- 0 406 291"/>
                <a:gd name="T171" fmla="*/ 406 h 591"/>
                <a:gd name="T172" fmla="+- 0 6223 5759"/>
                <a:gd name="T173" fmla="*/ T172 w 576"/>
                <a:gd name="T174" fmla="+- 0 352 291"/>
                <a:gd name="T175" fmla="*/ 352 h 591"/>
                <a:gd name="T176" fmla="+- 0 6158 5759"/>
                <a:gd name="T177" fmla="*/ T176 w 576"/>
                <a:gd name="T178" fmla="+- 0 314 291"/>
                <a:gd name="T179" fmla="*/ 314 h 59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  <a:cxn ang="0">
                  <a:pos x="T117" y="T119"/>
                </a:cxn>
                <a:cxn ang="0">
                  <a:pos x="T121" y="T123"/>
                </a:cxn>
                <a:cxn ang="0">
                  <a:pos x="T125" y="T127"/>
                </a:cxn>
                <a:cxn ang="0">
                  <a:pos x="T129" y="T131"/>
                </a:cxn>
                <a:cxn ang="0">
                  <a:pos x="T133" y="T135"/>
                </a:cxn>
                <a:cxn ang="0">
                  <a:pos x="T137" y="T139"/>
                </a:cxn>
                <a:cxn ang="0">
                  <a:pos x="T141" y="T143"/>
                </a:cxn>
                <a:cxn ang="0">
                  <a:pos x="T145" y="T147"/>
                </a:cxn>
                <a:cxn ang="0">
                  <a:pos x="T149" y="T151"/>
                </a:cxn>
                <a:cxn ang="0">
                  <a:pos x="T153" y="T155"/>
                </a:cxn>
                <a:cxn ang="0">
                  <a:pos x="T157" y="T159"/>
                </a:cxn>
                <a:cxn ang="0">
                  <a:pos x="T161" y="T163"/>
                </a:cxn>
                <a:cxn ang="0">
                  <a:pos x="T165" y="T167"/>
                </a:cxn>
                <a:cxn ang="0">
                  <a:pos x="T169" y="T171"/>
                </a:cxn>
                <a:cxn ang="0">
                  <a:pos x="T173" y="T175"/>
                </a:cxn>
                <a:cxn ang="0">
                  <a:pos x="T177" y="T179"/>
                </a:cxn>
              </a:cxnLst>
              <a:rect l="0" t="0" r="r" b="b"/>
              <a:pathLst>
                <a:path w="576" h="591">
                  <a:moveTo>
                    <a:pt x="288" y="0"/>
                  </a:moveTo>
                  <a:lnTo>
                    <a:pt x="231" y="5"/>
                  </a:lnTo>
                  <a:lnTo>
                    <a:pt x="178" y="22"/>
                  </a:lnTo>
                  <a:lnTo>
                    <a:pt x="128" y="49"/>
                  </a:lnTo>
                  <a:lnTo>
                    <a:pt x="85" y="86"/>
                  </a:lnTo>
                  <a:lnTo>
                    <a:pt x="48" y="131"/>
                  </a:lnTo>
                  <a:lnTo>
                    <a:pt x="22" y="182"/>
                  </a:lnTo>
                  <a:lnTo>
                    <a:pt x="6" y="237"/>
                  </a:lnTo>
                  <a:lnTo>
                    <a:pt x="0" y="295"/>
                  </a:lnTo>
                  <a:lnTo>
                    <a:pt x="6" y="353"/>
                  </a:lnTo>
                  <a:lnTo>
                    <a:pt x="22" y="408"/>
                  </a:lnTo>
                  <a:lnTo>
                    <a:pt x="48" y="458"/>
                  </a:lnTo>
                  <a:lnTo>
                    <a:pt x="85" y="503"/>
                  </a:lnTo>
                  <a:lnTo>
                    <a:pt x="128" y="540"/>
                  </a:lnTo>
                  <a:lnTo>
                    <a:pt x="178" y="568"/>
                  </a:lnTo>
                  <a:lnTo>
                    <a:pt x="231" y="584"/>
                  </a:lnTo>
                  <a:lnTo>
                    <a:pt x="288" y="590"/>
                  </a:lnTo>
                  <a:lnTo>
                    <a:pt x="344" y="584"/>
                  </a:lnTo>
                  <a:lnTo>
                    <a:pt x="383" y="572"/>
                  </a:lnTo>
                  <a:lnTo>
                    <a:pt x="288" y="572"/>
                  </a:lnTo>
                  <a:lnTo>
                    <a:pt x="235" y="567"/>
                  </a:lnTo>
                  <a:lnTo>
                    <a:pt x="184" y="551"/>
                  </a:lnTo>
                  <a:lnTo>
                    <a:pt x="138" y="526"/>
                  </a:lnTo>
                  <a:lnTo>
                    <a:pt x="97" y="491"/>
                  </a:lnTo>
                  <a:lnTo>
                    <a:pt x="63" y="449"/>
                  </a:lnTo>
                  <a:lnTo>
                    <a:pt x="38" y="401"/>
                  </a:lnTo>
                  <a:lnTo>
                    <a:pt x="23" y="349"/>
                  </a:lnTo>
                  <a:lnTo>
                    <a:pt x="17" y="295"/>
                  </a:lnTo>
                  <a:lnTo>
                    <a:pt x="23" y="240"/>
                  </a:lnTo>
                  <a:lnTo>
                    <a:pt x="38" y="188"/>
                  </a:lnTo>
                  <a:lnTo>
                    <a:pt x="63" y="141"/>
                  </a:lnTo>
                  <a:lnTo>
                    <a:pt x="97" y="98"/>
                  </a:lnTo>
                  <a:lnTo>
                    <a:pt x="138" y="64"/>
                  </a:lnTo>
                  <a:lnTo>
                    <a:pt x="184" y="38"/>
                  </a:lnTo>
                  <a:lnTo>
                    <a:pt x="235" y="22"/>
                  </a:lnTo>
                  <a:lnTo>
                    <a:pt x="288" y="17"/>
                  </a:lnTo>
                  <a:lnTo>
                    <a:pt x="384" y="17"/>
                  </a:lnTo>
                  <a:lnTo>
                    <a:pt x="363" y="10"/>
                  </a:lnTo>
                  <a:lnTo>
                    <a:pt x="326" y="2"/>
                  </a:lnTo>
                  <a:lnTo>
                    <a:pt x="288" y="0"/>
                  </a:lnTo>
                  <a:close/>
                  <a:moveTo>
                    <a:pt x="546" y="174"/>
                  </a:moveTo>
                  <a:lnTo>
                    <a:pt x="538" y="178"/>
                  </a:lnTo>
                  <a:lnTo>
                    <a:pt x="536" y="183"/>
                  </a:lnTo>
                  <a:lnTo>
                    <a:pt x="537" y="187"/>
                  </a:lnTo>
                  <a:lnTo>
                    <a:pt x="547" y="213"/>
                  </a:lnTo>
                  <a:lnTo>
                    <a:pt x="553" y="240"/>
                  </a:lnTo>
                  <a:lnTo>
                    <a:pt x="557" y="267"/>
                  </a:lnTo>
                  <a:lnTo>
                    <a:pt x="558" y="295"/>
                  </a:lnTo>
                  <a:lnTo>
                    <a:pt x="553" y="349"/>
                  </a:lnTo>
                  <a:lnTo>
                    <a:pt x="538" y="401"/>
                  </a:lnTo>
                  <a:lnTo>
                    <a:pt x="513" y="449"/>
                  </a:lnTo>
                  <a:lnTo>
                    <a:pt x="479" y="491"/>
                  </a:lnTo>
                  <a:lnTo>
                    <a:pt x="438" y="526"/>
                  </a:lnTo>
                  <a:lnTo>
                    <a:pt x="392" y="551"/>
                  </a:lnTo>
                  <a:lnTo>
                    <a:pt x="341" y="567"/>
                  </a:lnTo>
                  <a:lnTo>
                    <a:pt x="288" y="572"/>
                  </a:lnTo>
                  <a:lnTo>
                    <a:pt x="383" y="572"/>
                  </a:lnTo>
                  <a:lnTo>
                    <a:pt x="398" y="568"/>
                  </a:lnTo>
                  <a:lnTo>
                    <a:pt x="447" y="540"/>
                  </a:lnTo>
                  <a:lnTo>
                    <a:pt x="491" y="503"/>
                  </a:lnTo>
                  <a:lnTo>
                    <a:pt x="527" y="458"/>
                  </a:lnTo>
                  <a:lnTo>
                    <a:pt x="554" y="408"/>
                  </a:lnTo>
                  <a:lnTo>
                    <a:pt x="570" y="353"/>
                  </a:lnTo>
                  <a:lnTo>
                    <a:pt x="576" y="295"/>
                  </a:lnTo>
                  <a:lnTo>
                    <a:pt x="574" y="265"/>
                  </a:lnTo>
                  <a:lnTo>
                    <a:pt x="570" y="236"/>
                  </a:lnTo>
                  <a:lnTo>
                    <a:pt x="563" y="208"/>
                  </a:lnTo>
                  <a:lnTo>
                    <a:pt x="553" y="180"/>
                  </a:lnTo>
                  <a:lnTo>
                    <a:pt x="551" y="176"/>
                  </a:lnTo>
                  <a:lnTo>
                    <a:pt x="546" y="174"/>
                  </a:lnTo>
                  <a:close/>
                  <a:moveTo>
                    <a:pt x="384" y="17"/>
                  </a:moveTo>
                  <a:lnTo>
                    <a:pt x="288" y="17"/>
                  </a:lnTo>
                  <a:lnTo>
                    <a:pt x="324" y="20"/>
                  </a:lnTo>
                  <a:lnTo>
                    <a:pt x="359" y="27"/>
                  </a:lnTo>
                  <a:lnTo>
                    <a:pt x="393" y="39"/>
                  </a:lnTo>
                  <a:lnTo>
                    <a:pt x="425" y="55"/>
                  </a:lnTo>
                  <a:lnTo>
                    <a:pt x="454" y="75"/>
                  </a:lnTo>
                  <a:lnTo>
                    <a:pt x="480" y="99"/>
                  </a:lnTo>
                  <a:lnTo>
                    <a:pt x="502" y="126"/>
                  </a:lnTo>
                  <a:lnTo>
                    <a:pt x="522" y="155"/>
                  </a:lnTo>
                  <a:lnTo>
                    <a:pt x="524" y="159"/>
                  </a:lnTo>
                  <a:lnTo>
                    <a:pt x="529" y="161"/>
                  </a:lnTo>
                  <a:lnTo>
                    <a:pt x="538" y="156"/>
                  </a:lnTo>
                  <a:lnTo>
                    <a:pt x="539" y="151"/>
                  </a:lnTo>
                  <a:lnTo>
                    <a:pt x="537" y="146"/>
                  </a:lnTo>
                  <a:lnTo>
                    <a:pt x="516" y="115"/>
                  </a:lnTo>
                  <a:lnTo>
                    <a:pt x="492" y="86"/>
                  </a:lnTo>
                  <a:lnTo>
                    <a:pt x="464" y="61"/>
                  </a:lnTo>
                  <a:lnTo>
                    <a:pt x="433" y="40"/>
                  </a:lnTo>
                  <a:lnTo>
                    <a:pt x="399" y="23"/>
                  </a:lnTo>
                  <a:lnTo>
                    <a:pt x="384" y="17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AutoShape 11"/>
            <p:cNvSpPr>
              <a:spLocks/>
            </p:cNvSpPr>
            <p:nvPr/>
          </p:nvSpPr>
          <p:spPr bwMode="auto">
            <a:xfrm>
              <a:off x="5821" y="354"/>
              <a:ext cx="451" cy="463"/>
            </a:xfrm>
            <a:custGeom>
              <a:avLst/>
              <a:gdLst>
                <a:gd name="T0" fmla="+- 0 6047 5822"/>
                <a:gd name="T1" fmla="*/ T0 w 451"/>
                <a:gd name="T2" fmla="+- 0 354 354"/>
                <a:gd name="T3" fmla="*/ 354 h 463"/>
                <a:gd name="T4" fmla="+- 0 5976 5822"/>
                <a:gd name="T5" fmla="*/ T4 w 451"/>
                <a:gd name="T6" fmla="+- 0 366 354"/>
                <a:gd name="T7" fmla="*/ 366 h 463"/>
                <a:gd name="T8" fmla="+- 0 5914 5822"/>
                <a:gd name="T9" fmla="*/ T8 w 451"/>
                <a:gd name="T10" fmla="+- 0 399 354"/>
                <a:gd name="T11" fmla="*/ 399 h 463"/>
                <a:gd name="T12" fmla="+- 0 5865 5822"/>
                <a:gd name="T13" fmla="*/ T12 w 451"/>
                <a:gd name="T14" fmla="+- 0 449 354"/>
                <a:gd name="T15" fmla="*/ 449 h 463"/>
                <a:gd name="T16" fmla="+- 0 5833 5822"/>
                <a:gd name="T17" fmla="*/ T16 w 451"/>
                <a:gd name="T18" fmla="+- 0 513 354"/>
                <a:gd name="T19" fmla="*/ 513 h 463"/>
                <a:gd name="T20" fmla="+- 0 5822 5822"/>
                <a:gd name="T21" fmla="*/ T20 w 451"/>
                <a:gd name="T22" fmla="+- 0 586 354"/>
                <a:gd name="T23" fmla="*/ 586 h 463"/>
                <a:gd name="T24" fmla="+- 0 5833 5822"/>
                <a:gd name="T25" fmla="*/ T24 w 451"/>
                <a:gd name="T26" fmla="+- 0 659 354"/>
                <a:gd name="T27" fmla="*/ 659 h 463"/>
                <a:gd name="T28" fmla="+- 0 5865 5822"/>
                <a:gd name="T29" fmla="*/ T28 w 451"/>
                <a:gd name="T30" fmla="+- 0 722 354"/>
                <a:gd name="T31" fmla="*/ 722 h 463"/>
                <a:gd name="T32" fmla="+- 0 5914 5822"/>
                <a:gd name="T33" fmla="*/ T32 w 451"/>
                <a:gd name="T34" fmla="+- 0 772 354"/>
                <a:gd name="T35" fmla="*/ 772 h 463"/>
                <a:gd name="T36" fmla="+- 0 5976 5822"/>
                <a:gd name="T37" fmla="*/ T36 w 451"/>
                <a:gd name="T38" fmla="+- 0 805 354"/>
                <a:gd name="T39" fmla="*/ 805 h 463"/>
                <a:gd name="T40" fmla="+- 0 6047 5822"/>
                <a:gd name="T41" fmla="*/ T40 w 451"/>
                <a:gd name="T42" fmla="+- 0 817 354"/>
                <a:gd name="T43" fmla="*/ 817 h 463"/>
                <a:gd name="T44" fmla="+- 0 6118 5822"/>
                <a:gd name="T45" fmla="*/ T44 w 451"/>
                <a:gd name="T46" fmla="+- 0 805 354"/>
                <a:gd name="T47" fmla="*/ 805 h 463"/>
                <a:gd name="T48" fmla="+- 0 6129 5822"/>
                <a:gd name="T49" fmla="*/ T48 w 451"/>
                <a:gd name="T50" fmla="+- 0 800 354"/>
                <a:gd name="T51" fmla="*/ 800 h 463"/>
                <a:gd name="T52" fmla="+- 0 6047 5822"/>
                <a:gd name="T53" fmla="*/ T52 w 451"/>
                <a:gd name="T54" fmla="+- 0 800 354"/>
                <a:gd name="T55" fmla="*/ 800 h 463"/>
                <a:gd name="T56" fmla="+- 0 5981 5822"/>
                <a:gd name="T57" fmla="*/ T56 w 451"/>
                <a:gd name="T58" fmla="+- 0 789 354"/>
                <a:gd name="T59" fmla="*/ 789 h 463"/>
                <a:gd name="T60" fmla="+- 0 5924 5822"/>
                <a:gd name="T61" fmla="*/ T60 w 451"/>
                <a:gd name="T62" fmla="+- 0 758 354"/>
                <a:gd name="T63" fmla="*/ 758 h 463"/>
                <a:gd name="T64" fmla="+- 0 5879 5822"/>
                <a:gd name="T65" fmla="*/ T64 w 451"/>
                <a:gd name="T66" fmla="+- 0 712 354"/>
                <a:gd name="T67" fmla="*/ 712 h 463"/>
                <a:gd name="T68" fmla="+- 0 5849 5822"/>
                <a:gd name="T69" fmla="*/ T68 w 451"/>
                <a:gd name="T70" fmla="+- 0 653 354"/>
                <a:gd name="T71" fmla="*/ 653 h 463"/>
                <a:gd name="T72" fmla="+- 0 5839 5822"/>
                <a:gd name="T73" fmla="*/ T72 w 451"/>
                <a:gd name="T74" fmla="+- 0 586 354"/>
                <a:gd name="T75" fmla="*/ 586 h 463"/>
                <a:gd name="T76" fmla="+- 0 5849 5822"/>
                <a:gd name="T77" fmla="*/ T76 w 451"/>
                <a:gd name="T78" fmla="+- 0 518 354"/>
                <a:gd name="T79" fmla="*/ 518 h 463"/>
                <a:gd name="T80" fmla="+- 0 5879 5822"/>
                <a:gd name="T81" fmla="*/ T80 w 451"/>
                <a:gd name="T82" fmla="+- 0 460 354"/>
                <a:gd name="T83" fmla="*/ 460 h 463"/>
                <a:gd name="T84" fmla="+- 0 5924 5822"/>
                <a:gd name="T85" fmla="*/ T84 w 451"/>
                <a:gd name="T86" fmla="+- 0 413 354"/>
                <a:gd name="T87" fmla="*/ 413 h 463"/>
                <a:gd name="T88" fmla="+- 0 5981 5822"/>
                <a:gd name="T89" fmla="*/ T88 w 451"/>
                <a:gd name="T90" fmla="+- 0 383 354"/>
                <a:gd name="T91" fmla="*/ 383 h 463"/>
                <a:gd name="T92" fmla="+- 0 6047 5822"/>
                <a:gd name="T93" fmla="*/ T92 w 451"/>
                <a:gd name="T94" fmla="+- 0 372 354"/>
                <a:gd name="T95" fmla="*/ 372 h 463"/>
                <a:gd name="T96" fmla="+- 0 6129 5822"/>
                <a:gd name="T97" fmla="*/ T96 w 451"/>
                <a:gd name="T98" fmla="+- 0 372 354"/>
                <a:gd name="T99" fmla="*/ 372 h 463"/>
                <a:gd name="T100" fmla="+- 0 6118 5822"/>
                <a:gd name="T101" fmla="*/ T100 w 451"/>
                <a:gd name="T102" fmla="+- 0 366 354"/>
                <a:gd name="T103" fmla="*/ 366 h 463"/>
                <a:gd name="T104" fmla="+- 0 6047 5822"/>
                <a:gd name="T105" fmla="*/ T104 w 451"/>
                <a:gd name="T106" fmla="+- 0 354 354"/>
                <a:gd name="T107" fmla="*/ 354 h 463"/>
                <a:gd name="T108" fmla="+- 0 6129 5822"/>
                <a:gd name="T109" fmla="*/ T108 w 451"/>
                <a:gd name="T110" fmla="+- 0 372 354"/>
                <a:gd name="T111" fmla="*/ 372 h 463"/>
                <a:gd name="T112" fmla="+- 0 6047 5822"/>
                <a:gd name="T113" fmla="*/ T112 w 451"/>
                <a:gd name="T114" fmla="+- 0 372 354"/>
                <a:gd name="T115" fmla="*/ 372 h 463"/>
                <a:gd name="T116" fmla="+- 0 6113 5822"/>
                <a:gd name="T117" fmla="*/ T116 w 451"/>
                <a:gd name="T118" fmla="+- 0 383 354"/>
                <a:gd name="T119" fmla="*/ 383 h 463"/>
                <a:gd name="T120" fmla="+- 0 6170 5822"/>
                <a:gd name="T121" fmla="*/ T120 w 451"/>
                <a:gd name="T122" fmla="+- 0 413 354"/>
                <a:gd name="T123" fmla="*/ 413 h 463"/>
                <a:gd name="T124" fmla="+- 0 6215 5822"/>
                <a:gd name="T125" fmla="*/ T124 w 451"/>
                <a:gd name="T126" fmla="+- 0 460 354"/>
                <a:gd name="T127" fmla="*/ 460 h 463"/>
                <a:gd name="T128" fmla="+- 0 6245 5822"/>
                <a:gd name="T129" fmla="*/ T128 w 451"/>
                <a:gd name="T130" fmla="+- 0 518 354"/>
                <a:gd name="T131" fmla="*/ 518 h 463"/>
                <a:gd name="T132" fmla="+- 0 6255 5822"/>
                <a:gd name="T133" fmla="*/ T132 w 451"/>
                <a:gd name="T134" fmla="+- 0 586 354"/>
                <a:gd name="T135" fmla="*/ 586 h 463"/>
                <a:gd name="T136" fmla="+- 0 6245 5822"/>
                <a:gd name="T137" fmla="*/ T136 w 451"/>
                <a:gd name="T138" fmla="+- 0 653 354"/>
                <a:gd name="T139" fmla="*/ 653 h 463"/>
                <a:gd name="T140" fmla="+- 0 6215 5822"/>
                <a:gd name="T141" fmla="*/ T140 w 451"/>
                <a:gd name="T142" fmla="+- 0 712 354"/>
                <a:gd name="T143" fmla="*/ 712 h 463"/>
                <a:gd name="T144" fmla="+- 0 6170 5822"/>
                <a:gd name="T145" fmla="*/ T144 w 451"/>
                <a:gd name="T146" fmla="+- 0 758 354"/>
                <a:gd name="T147" fmla="*/ 758 h 463"/>
                <a:gd name="T148" fmla="+- 0 6113 5822"/>
                <a:gd name="T149" fmla="*/ T148 w 451"/>
                <a:gd name="T150" fmla="+- 0 789 354"/>
                <a:gd name="T151" fmla="*/ 789 h 463"/>
                <a:gd name="T152" fmla="+- 0 6047 5822"/>
                <a:gd name="T153" fmla="*/ T152 w 451"/>
                <a:gd name="T154" fmla="+- 0 800 354"/>
                <a:gd name="T155" fmla="*/ 800 h 463"/>
                <a:gd name="T156" fmla="+- 0 6129 5822"/>
                <a:gd name="T157" fmla="*/ T156 w 451"/>
                <a:gd name="T158" fmla="+- 0 800 354"/>
                <a:gd name="T159" fmla="*/ 800 h 463"/>
                <a:gd name="T160" fmla="+- 0 6180 5822"/>
                <a:gd name="T161" fmla="*/ T160 w 451"/>
                <a:gd name="T162" fmla="+- 0 772 354"/>
                <a:gd name="T163" fmla="*/ 772 h 463"/>
                <a:gd name="T164" fmla="+- 0 6229 5822"/>
                <a:gd name="T165" fmla="*/ T164 w 451"/>
                <a:gd name="T166" fmla="+- 0 722 354"/>
                <a:gd name="T167" fmla="*/ 722 h 463"/>
                <a:gd name="T168" fmla="+- 0 6261 5822"/>
                <a:gd name="T169" fmla="*/ T168 w 451"/>
                <a:gd name="T170" fmla="+- 0 659 354"/>
                <a:gd name="T171" fmla="*/ 659 h 463"/>
                <a:gd name="T172" fmla="+- 0 6272 5822"/>
                <a:gd name="T173" fmla="*/ T172 w 451"/>
                <a:gd name="T174" fmla="+- 0 586 354"/>
                <a:gd name="T175" fmla="*/ 586 h 463"/>
                <a:gd name="T176" fmla="+- 0 6261 5822"/>
                <a:gd name="T177" fmla="*/ T176 w 451"/>
                <a:gd name="T178" fmla="+- 0 513 354"/>
                <a:gd name="T179" fmla="*/ 513 h 463"/>
                <a:gd name="T180" fmla="+- 0 6229 5822"/>
                <a:gd name="T181" fmla="*/ T180 w 451"/>
                <a:gd name="T182" fmla="+- 0 449 354"/>
                <a:gd name="T183" fmla="*/ 449 h 463"/>
                <a:gd name="T184" fmla="+- 0 6180 5822"/>
                <a:gd name="T185" fmla="*/ T184 w 451"/>
                <a:gd name="T186" fmla="+- 0 399 354"/>
                <a:gd name="T187" fmla="*/ 399 h 463"/>
                <a:gd name="T188" fmla="+- 0 6129 5822"/>
                <a:gd name="T189" fmla="*/ T188 w 451"/>
                <a:gd name="T190" fmla="+- 0 372 354"/>
                <a:gd name="T191" fmla="*/ 372 h 463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  <a:cxn ang="0">
                  <a:pos x="T117" y="T119"/>
                </a:cxn>
                <a:cxn ang="0">
                  <a:pos x="T121" y="T123"/>
                </a:cxn>
                <a:cxn ang="0">
                  <a:pos x="T125" y="T127"/>
                </a:cxn>
                <a:cxn ang="0">
                  <a:pos x="T129" y="T131"/>
                </a:cxn>
                <a:cxn ang="0">
                  <a:pos x="T133" y="T135"/>
                </a:cxn>
                <a:cxn ang="0">
                  <a:pos x="T137" y="T139"/>
                </a:cxn>
                <a:cxn ang="0">
                  <a:pos x="T141" y="T143"/>
                </a:cxn>
                <a:cxn ang="0">
                  <a:pos x="T145" y="T147"/>
                </a:cxn>
                <a:cxn ang="0">
                  <a:pos x="T149" y="T151"/>
                </a:cxn>
                <a:cxn ang="0">
                  <a:pos x="T153" y="T155"/>
                </a:cxn>
                <a:cxn ang="0">
                  <a:pos x="T157" y="T159"/>
                </a:cxn>
                <a:cxn ang="0">
                  <a:pos x="T161" y="T163"/>
                </a:cxn>
                <a:cxn ang="0">
                  <a:pos x="T165" y="T167"/>
                </a:cxn>
                <a:cxn ang="0">
                  <a:pos x="T169" y="T171"/>
                </a:cxn>
                <a:cxn ang="0">
                  <a:pos x="T173" y="T175"/>
                </a:cxn>
                <a:cxn ang="0">
                  <a:pos x="T177" y="T179"/>
                </a:cxn>
                <a:cxn ang="0">
                  <a:pos x="T181" y="T183"/>
                </a:cxn>
                <a:cxn ang="0">
                  <a:pos x="T185" y="T187"/>
                </a:cxn>
                <a:cxn ang="0">
                  <a:pos x="T189" y="T191"/>
                </a:cxn>
              </a:cxnLst>
              <a:rect l="0" t="0" r="r" b="b"/>
              <a:pathLst>
                <a:path w="451" h="463">
                  <a:moveTo>
                    <a:pt x="225" y="0"/>
                  </a:moveTo>
                  <a:lnTo>
                    <a:pt x="154" y="12"/>
                  </a:lnTo>
                  <a:lnTo>
                    <a:pt x="92" y="45"/>
                  </a:lnTo>
                  <a:lnTo>
                    <a:pt x="43" y="95"/>
                  </a:lnTo>
                  <a:lnTo>
                    <a:pt x="11" y="159"/>
                  </a:lnTo>
                  <a:lnTo>
                    <a:pt x="0" y="232"/>
                  </a:lnTo>
                  <a:lnTo>
                    <a:pt x="11" y="305"/>
                  </a:lnTo>
                  <a:lnTo>
                    <a:pt x="43" y="368"/>
                  </a:lnTo>
                  <a:lnTo>
                    <a:pt x="92" y="418"/>
                  </a:lnTo>
                  <a:lnTo>
                    <a:pt x="154" y="451"/>
                  </a:lnTo>
                  <a:lnTo>
                    <a:pt x="225" y="463"/>
                  </a:lnTo>
                  <a:lnTo>
                    <a:pt x="296" y="451"/>
                  </a:lnTo>
                  <a:lnTo>
                    <a:pt x="307" y="446"/>
                  </a:lnTo>
                  <a:lnTo>
                    <a:pt x="225" y="446"/>
                  </a:lnTo>
                  <a:lnTo>
                    <a:pt x="159" y="435"/>
                  </a:lnTo>
                  <a:lnTo>
                    <a:pt x="102" y="404"/>
                  </a:lnTo>
                  <a:lnTo>
                    <a:pt x="57" y="358"/>
                  </a:lnTo>
                  <a:lnTo>
                    <a:pt x="27" y="299"/>
                  </a:lnTo>
                  <a:lnTo>
                    <a:pt x="17" y="232"/>
                  </a:lnTo>
                  <a:lnTo>
                    <a:pt x="27" y="164"/>
                  </a:lnTo>
                  <a:lnTo>
                    <a:pt x="57" y="106"/>
                  </a:lnTo>
                  <a:lnTo>
                    <a:pt x="102" y="59"/>
                  </a:lnTo>
                  <a:lnTo>
                    <a:pt x="159" y="29"/>
                  </a:lnTo>
                  <a:lnTo>
                    <a:pt x="225" y="18"/>
                  </a:lnTo>
                  <a:lnTo>
                    <a:pt x="307" y="18"/>
                  </a:lnTo>
                  <a:lnTo>
                    <a:pt x="296" y="12"/>
                  </a:lnTo>
                  <a:lnTo>
                    <a:pt x="225" y="0"/>
                  </a:lnTo>
                  <a:close/>
                  <a:moveTo>
                    <a:pt x="307" y="18"/>
                  </a:moveTo>
                  <a:lnTo>
                    <a:pt x="225" y="18"/>
                  </a:lnTo>
                  <a:lnTo>
                    <a:pt x="291" y="29"/>
                  </a:lnTo>
                  <a:lnTo>
                    <a:pt x="348" y="59"/>
                  </a:lnTo>
                  <a:lnTo>
                    <a:pt x="393" y="106"/>
                  </a:lnTo>
                  <a:lnTo>
                    <a:pt x="423" y="164"/>
                  </a:lnTo>
                  <a:lnTo>
                    <a:pt x="433" y="232"/>
                  </a:lnTo>
                  <a:lnTo>
                    <a:pt x="423" y="299"/>
                  </a:lnTo>
                  <a:lnTo>
                    <a:pt x="393" y="358"/>
                  </a:lnTo>
                  <a:lnTo>
                    <a:pt x="348" y="404"/>
                  </a:lnTo>
                  <a:lnTo>
                    <a:pt x="291" y="435"/>
                  </a:lnTo>
                  <a:lnTo>
                    <a:pt x="225" y="446"/>
                  </a:lnTo>
                  <a:lnTo>
                    <a:pt x="307" y="446"/>
                  </a:lnTo>
                  <a:lnTo>
                    <a:pt x="358" y="418"/>
                  </a:lnTo>
                  <a:lnTo>
                    <a:pt x="407" y="368"/>
                  </a:lnTo>
                  <a:lnTo>
                    <a:pt x="439" y="305"/>
                  </a:lnTo>
                  <a:lnTo>
                    <a:pt x="450" y="232"/>
                  </a:lnTo>
                  <a:lnTo>
                    <a:pt x="439" y="159"/>
                  </a:lnTo>
                  <a:lnTo>
                    <a:pt x="407" y="95"/>
                  </a:lnTo>
                  <a:lnTo>
                    <a:pt x="358" y="45"/>
                  </a:lnTo>
                  <a:lnTo>
                    <a:pt x="307" y="18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24" name="Picture 1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3" y="413"/>
              <a:ext cx="295" cy="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Прямоугольник 24"/>
          <p:cNvSpPr/>
          <p:nvPr/>
        </p:nvSpPr>
        <p:spPr>
          <a:xfrm>
            <a:off x="5855067" y="1108055"/>
            <a:ext cx="4625521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>
                <a:solidFill>
                  <a:srgbClr val="2E3232"/>
                </a:solidFill>
                <a:latin typeface="Arial"/>
                <a:ea typeface="Arial"/>
              </a:rPr>
              <a:t>ПРОЕКТОВ МОДЕРНИЗАЦИИ КОММУНАЛЬНОЙ </a:t>
            </a: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ИНФРАСТРУКТУРЫ</a:t>
            </a:r>
            <a:endParaRPr lang="ru-RU" sz="1000" dirty="0">
              <a:latin typeface="Arial"/>
              <a:ea typeface="Arial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508563" y="4588792"/>
            <a:ext cx="4025446" cy="552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5300">
              <a:lnSpc>
                <a:spcPct val="136000"/>
              </a:lnSpc>
              <a:spcBef>
                <a:spcPts val="5"/>
              </a:spcBef>
            </a:pPr>
            <a:r>
              <a:rPr lang="ru-RU" sz="1100" b="1" dirty="0" smtClean="0">
                <a:solidFill>
                  <a:srgbClr val="2E3232"/>
                </a:solidFill>
                <a:latin typeface="Arial"/>
                <a:ea typeface="Arial"/>
              </a:rPr>
              <a:t>СУБЪЕКТОВ</a:t>
            </a:r>
          </a:p>
          <a:p>
            <a:pPr marR="495300">
              <a:lnSpc>
                <a:spcPct val="136000"/>
              </a:lnSpc>
              <a:spcBef>
                <a:spcPts val="5"/>
              </a:spcBef>
            </a:pPr>
            <a:r>
              <a:rPr lang="ru-RU" sz="1100" b="1" dirty="0" smtClean="0">
                <a:solidFill>
                  <a:srgbClr val="2E3232"/>
                </a:solidFill>
                <a:latin typeface="Arial"/>
                <a:ea typeface="Arial"/>
              </a:rPr>
              <a:t>РОССИЙСКОЙ ФЕДЕРАЦИИ</a:t>
            </a:r>
            <a:endParaRPr lang="ru-RU" sz="1100" dirty="0">
              <a:latin typeface="Arial"/>
              <a:ea typeface="Arial"/>
            </a:endParaRPr>
          </a:p>
        </p:txBody>
      </p:sp>
      <p:grpSp>
        <p:nvGrpSpPr>
          <p:cNvPr id="38" name="Group 2"/>
          <p:cNvGrpSpPr>
            <a:grpSpLocks/>
          </p:cNvGrpSpPr>
          <p:nvPr/>
        </p:nvGrpSpPr>
        <p:grpSpPr bwMode="auto">
          <a:xfrm>
            <a:off x="6100111" y="1147133"/>
            <a:ext cx="377825" cy="385763"/>
            <a:chOff x="3631" y="186"/>
            <a:chExt cx="594" cy="608"/>
          </a:xfrm>
        </p:grpSpPr>
        <p:pic>
          <p:nvPicPr>
            <p:cNvPr id="39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1" y="286"/>
              <a:ext cx="334" cy="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1" y="527"/>
              <a:ext cx="161" cy="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AutoShape 5"/>
            <p:cNvSpPr>
              <a:spLocks/>
            </p:cNvSpPr>
            <p:nvPr/>
          </p:nvSpPr>
          <p:spPr bwMode="auto">
            <a:xfrm>
              <a:off x="3630" y="386"/>
              <a:ext cx="398" cy="407"/>
            </a:xfrm>
            <a:custGeom>
              <a:avLst/>
              <a:gdLst>
                <a:gd name="T0" fmla="+- 0 3719 3631"/>
                <a:gd name="T1" fmla="*/ T0 w 398"/>
                <a:gd name="T2" fmla="+- 0 387 387"/>
                <a:gd name="T3" fmla="*/ 387 h 407"/>
                <a:gd name="T4" fmla="+- 0 3711 3631"/>
                <a:gd name="T5" fmla="*/ T4 w 398"/>
                <a:gd name="T6" fmla="+- 0 387 387"/>
                <a:gd name="T7" fmla="*/ 387 h 407"/>
                <a:gd name="T8" fmla="+- 0 3631 3631"/>
                <a:gd name="T9" fmla="*/ T8 w 398"/>
                <a:gd name="T10" fmla="+- 0 469 387"/>
                <a:gd name="T11" fmla="*/ 469 h 407"/>
                <a:gd name="T12" fmla="+- 0 3631 3631"/>
                <a:gd name="T13" fmla="*/ T12 w 398"/>
                <a:gd name="T14" fmla="+- 0 477 387"/>
                <a:gd name="T15" fmla="*/ 477 h 407"/>
                <a:gd name="T16" fmla="+- 0 3938 3631"/>
                <a:gd name="T17" fmla="*/ T16 w 398"/>
                <a:gd name="T18" fmla="+- 0 792 387"/>
                <a:gd name="T19" fmla="*/ 792 h 407"/>
                <a:gd name="T20" fmla="+- 0 3941 3631"/>
                <a:gd name="T21" fmla="*/ T20 w 398"/>
                <a:gd name="T22" fmla="+- 0 793 387"/>
                <a:gd name="T23" fmla="*/ 793 h 407"/>
                <a:gd name="T24" fmla="+- 0 3947 3631"/>
                <a:gd name="T25" fmla="*/ T24 w 398"/>
                <a:gd name="T26" fmla="+- 0 793 387"/>
                <a:gd name="T27" fmla="*/ 793 h 407"/>
                <a:gd name="T28" fmla="+- 0 3950 3631"/>
                <a:gd name="T29" fmla="*/ T28 w 398"/>
                <a:gd name="T30" fmla="+- 0 792 387"/>
                <a:gd name="T31" fmla="*/ 792 h 407"/>
                <a:gd name="T32" fmla="+- 0 3979 3631"/>
                <a:gd name="T33" fmla="*/ T32 w 398"/>
                <a:gd name="T34" fmla="+- 0 762 387"/>
                <a:gd name="T35" fmla="*/ 762 h 407"/>
                <a:gd name="T36" fmla="+- 0 3944 3631"/>
                <a:gd name="T37" fmla="*/ T36 w 398"/>
                <a:gd name="T38" fmla="+- 0 762 387"/>
                <a:gd name="T39" fmla="*/ 762 h 407"/>
                <a:gd name="T40" fmla="+- 0 3662 3631"/>
                <a:gd name="T41" fmla="*/ T40 w 398"/>
                <a:gd name="T42" fmla="+- 0 473 387"/>
                <a:gd name="T43" fmla="*/ 473 h 407"/>
                <a:gd name="T44" fmla="+- 0 3715 3631"/>
                <a:gd name="T45" fmla="*/ T44 w 398"/>
                <a:gd name="T46" fmla="+- 0 418 387"/>
                <a:gd name="T47" fmla="*/ 418 h 407"/>
                <a:gd name="T48" fmla="+- 0 3750 3631"/>
                <a:gd name="T49" fmla="*/ T48 w 398"/>
                <a:gd name="T50" fmla="+- 0 418 387"/>
                <a:gd name="T51" fmla="*/ 418 h 407"/>
                <a:gd name="T52" fmla="+- 0 3719 3631"/>
                <a:gd name="T53" fmla="*/ T52 w 398"/>
                <a:gd name="T54" fmla="+- 0 387 387"/>
                <a:gd name="T55" fmla="*/ 387 h 407"/>
                <a:gd name="T56" fmla="+- 0 3750 3631"/>
                <a:gd name="T57" fmla="*/ T56 w 398"/>
                <a:gd name="T58" fmla="+- 0 418 387"/>
                <a:gd name="T59" fmla="*/ 418 h 407"/>
                <a:gd name="T60" fmla="+- 0 3715 3631"/>
                <a:gd name="T61" fmla="*/ T60 w 398"/>
                <a:gd name="T62" fmla="+- 0 418 387"/>
                <a:gd name="T63" fmla="*/ 418 h 407"/>
                <a:gd name="T64" fmla="+- 0 3997 3631"/>
                <a:gd name="T65" fmla="*/ T64 w 398"/>
                <a:gd name="T66" fmla="+- 0 708 387"/>
                <a:gd name="T67" fmla="*/ 708 h 407"/>
                <a:gd name="T68" fmla="+- 0 3944 3631"/>
                <a:gd name="T69" fmla="*/ T68 w 398"/>
                <a:gd name="T70" fmla="+- 0 762 387"/>
                <a:gd name="T71" fmla="*/ 762 h 407"/>
                <a:gd name="T72" fmla="+- 0 3979 3631"/>
                <a:gd name="T73" fmla="*/ T72 w 398"/>
                <a:gd name="T74" fmla="+- 0 762 387"/>
                <a:gd name="T75" fmla="*/ 762 h 407"/>
                <a:gd name="T76" fmla="+- 0 4028 3631"/>
                <a:gd name="T77" fmla="*/ T76 w 398"/>
                <a:gd name="T78" fmla="+- 0 712 387"/>
                <a:gd name="T79" fmla="*/ 712 h 407"/>
                <a:gd name="T80" fmla="+- 0 4028 3631"/>
                <a:gd name="T81" fmla="*/ T80 w 398"/>
                <a:gd name="T82" fmla="+- 0 704 387"/>
                <a:gd name="T83" fmla="*/ 704 h 407"/>
                <a:gd name="T84" fmla="+- 0 3750 3631"/>
                <a:gd name="T85" fmla="*/ T84 w 398"/>
                <a:gd name="T86" fmla="+- 0 418 387"/>
                <a:gd name="T87" fmla="*/ 418 h 407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</a:cxnLst>
              <a:rect l="0" t="0" r="r" b="b"/>
              <a:pathLst>
                <a:path w="398" h="407">
                  <a:moveTo>
                    <a:pt x="88" y="0"/>
                  </a:moveTo>
                  <a:lnTo>
                    <a:pt x="80" y="0"/>
                  </a:lnTo>
                  <a:lnTo>
                    <a:pt x="0" y="82"/>
                  </a:lnTo>
                  <a:lnTo>
                    <a:pt x="0" y="90"/>
                  </a:lnTo>
                  <a:lnTo>
                    <a:pt x="307" y="405"/>
                  </a:lnTo>
                  <a:lnTo>
                    <a:pt x="310" y="406"/>
                  </a:lnTo>
                  <a:lnTo>
                    <a:pt x="316" y="406"/>
                  </a:lnTo>
                  <a:lnTo>
                    <a:pt x="319" y="405"/>
                  </a:lnTo>
                  <a:lnTo>
                    <a:pt x="348" y="375"/>
                  </a:lnTo>
                  <a:lnTo>
                    <a:pt x="313" y="375"/>
                  </a:lnTo>
                  <a:lnTo>
                    <a:pt x="31" y="86"/>
                  </a:lnTo>
                  <a:lnTo>
                    <a:pt x="84" y="31"/>
                  </a:lnTo>
                  <a:lnTo>
                    <a:pt x="119" y="31"/>
                  </a:lnTo>
                  <a:lnTo>
                    <a:pt x="88" y="0"/>
                  </a:lnTo>
                  <a:close/>
                  <a:moveTo>
                    <a:pt x="119" y="31"/>
                  </a:moveTo>
                  <a:lnTo>
                    <a:pt x="84" y="31"/>
                  </a:lnTo>
                  <a:lnTo>
                    <a:pt x="366" y="321"/>
                  </a:lnTo>
                  <a:lnTo>
                    <a:pt x="313" y="375"/>
                  </a:lnTo>
                  <a:lnTo>
                    <a:pt x="348" y="375"/>
                  </a:lnTo>
                  <a:lnTo>
                    <a:pt x="397" y="325"/>
                  </a:lnTo>
                  <a:lnTo>
                    <a:pt x="397" y="317"/>
                  </a:lnTo>
                  <a:lnTo>
                    <a:pt x="119" y="31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55" name="Picture 6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9" y="666"/>
              <a:ext cx="235" cy="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4113" y="286"/>
              <a:ext cx="112" cy="431"/>
            </a:xfrm>
            <a:custGeom>
              <a:avLst/>
              <a:gdLst>
                <a:gd name="T0" fmla="+- 0 4175 4113"/>
                <a:gd name="T1" fmla="*/ T0 w 112"/>
                <a:gd name="T2" fmla="+- 0 286 286"/>
                <a:gd name="T3" fmla="*/ 286 h 431"/>
                <a:gd name="T4" fmla="+- 0 4113 4113"/>
                <a:gd name="T5" fmla="*/ T4 w 112"/>
                <a:gd name="T6" fmla="+- 0 286 286"/>
                <a:gd name="T7" fmla="*/ 286 h 431"/>
                <a:gd name="T8" fmla="+- 0 4113 4113"/>
                <a:gd name="T9" fmla="*/ T8 w 112"/>
                <a:gd name="T10" fmla="+- 0 312 286"/>
                <a:gd name="T11" fmla="*/ 312 h 431"/>
                <a:gd name="T12" fmla="+- 0 4189 4113"/>
                <a:gd name="T13" fmla="*/ T12 w 112"/>
                <a:gd name="T14" fmla="+- 0 312 286"/>
                <a:gd name="T15" fmla="*/ 312 h 431"/>
                <a:gd name="T16" fmla="+- 0 4200 4113"/>
                <a:gd name="T17" fmla="*/ T16 w 112"/>
                <a:gd name="T18" fmla="+- 0 323 286"/>
                <a:gd name="T19" fmla="*/ 323 h 431"/>
                <a:gd name="T20" fmla="+- 0 4200 4113"/>
                <a:gd name="T21" fmla="*/ T20 w 112"/>
                <a:gd name="T22" fmla="+- 0 717 286"/>
                <a:gd name="T23" fmla="*/ 717 h 431"/>
                <a:gd name="T24" fmla="+- 0 4224 4113"/>
                <a:gd name="T25" fmla="*/ T24 w 112"/>
                <a:gd name="T26" fmla="+- 0 717 286"/>
                <a:gd name="T27" fmla="*/ 717 h 431"/>
                <a:gd name="T28" fmla="+- 0 4224 4113"/>
                <a:gd name="T29" fmla="*/ T28 w 112"/>
                <a:gd name="T30" fmla="+- 0 337 286"/>
                <a:gd name="T31" fmla="*/ 337 h 431"/>
                <a:gd name="T32" fmla="+- 0 4221 4113"/>
                <a:gd name="T33" fmla="*/ T32 w 112"/>
                <a:gd name="T34" fmla="+- 0 317 286"/>
                <a:gd name="T35" fmla="*/ 317 h 431"/>
                <a:gd name="T36" fmla="+- 0 4210 4113"/>
                <a:gd name="T37" fmla="*/ T36 w 112"/>
                <a:gd name="T38" fmla="+- 0 301 286"/>
                <a:gd name="T39" fmla="*/ 301 h 431"/>
                <a:gd name="T40" fmla="+- 0 4194 4113"/>
                <a:gd name="T41" fmla="*/ T40 w 112"/>
                <a:gd name="T42" fmla="+- 0 290 286"/>
                <a:gd name="T43" fmla="*/ 290 h 431"/>
                <a:gd name="T44" fmla="+- 0 4175 4113"/>
                <a:gd name="T45" fmla="*/ T44 w 112"/>
                <a:gd name="T46" fmla="+- 0 286 286"/>
                <a:gd name="T47" fmla="*/ 286 h 43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</a:cxnLst>
              <a:rect l="0" t="0" r="r" b="b"/>
              <a:pathLst>
                <a:path w="112" h="431">
                  <a:moveTo>
                    <a:pt x="62" y="0"/>
                  </a:moveTo>
                  <a:lnTo>
                    <a:pt x="0" y="0"/>
                  </a:lnTo>
                  <a:lnTo>
                    <a:pt x="0" y="26"/>
                  </a:lnTo>
                  <a:lnTo>
                    <a:pt x="76" y="26"/>
                  </a:lnTo>
                  <a:lnTo>
                    <a:pt x="87" y="37"/>
                  </a:lnTo>
                  <a:lnTo>
                    <a:pt x="87" y="431"/>
                  </a:lnTo>
                  <a:lnTo>
                    <a:pt x="111" y="431"/>
                  </a:lnTo>
                  <a:lnTo>
                    <a:pt x="111" y="51"/>
                  </a:lnTo>
                  <a:lnTo>
                    <a:pt x="108" y="31"/>
                  </a:lnTo>
                  <a:lnTo>
                    <a:pt x="97" y="15"/>
                  </a:lnTo>
                  <a:lnTo>
                    <a:pt x="81" y="4"/>
                  </a:lnTo>
                  <a:lnTo>
                    <a:pt x="62" y="0"/>
                  </a:lnTo>
                  <a:close/>
                </a:path>
              </a:pathLst>
            </a:custGeom>
            <a:solidFill>
              <a:srgbClr val="1E54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57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1" y="185"/>
              <a:ext cx="454" cy="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8" name="Text Box 13"/>
          <p:cNvSpPr txBox="1">
            <a:spLocks noChangeArrowheads="1"/>
          </p:cNvSpPr>
          <p:nvPr/>
        </p:nvSpPr>
        <p:spPr bwMode="auto">
          <a:xfrm>
            <a:off x="6748934" y="1171390"/>
            <a:ext cx="4746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89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9" name="Group 15"/>
          <p:cNvGrpSpPr>
            <a:grpSpLocks/>
          </p:cNvGrpSpPr>
          <p:nvPr/>
        </p:nvGrpSpPr>
        <p:grpSpPr bwMode="auto">
          <a:xfrm>
            <a:off x="2366086" y="4672155"/>
            <a:ext cx="325437" cy="312738"/>
            <a:chOff x="5993" y="-56"/>
            <a:chExt cx="511" cy="493"/>
          </a:xfrm>
        </p:grpSpPr>
        <p:sp>
          <p:nvSpPr>
            <p:cNvPr id="60" name="AutoShape 16"/>
            <p:cNvSpPr>
              <a:spLocks/>
            </p:cNvSpPr>
            <p:nvPr/>
          </p:nvSpPr>
          <p:spPr bwMode="auto">
            <a:xfrm>
              <a:off x="5993" y="148"/>
              <a:ext cx="511" cy="288"/>
            </a:xfrm>
            <a:custGeom>
              <a:avLst/>
              <a:gdLst>
                <a:gd name="T0" fmla="+- 0 6136 5993"/>
                <a:gd name="T1" fmla="*/ T0 w 511"/>
                <a:gd name="T2" fmla="+- 0 149 149"/>
                <a:gd name="T3" fmla="*/ 149 h 288"/>
                <a:gd name="T4" fmla="+- 0 6030 5993"/>
                <a:gd name="T5" fmla="*/ T4 w 511"/>
                <a:gd name="T6" fmla="+- 0 149 149"/>
                <a:gd name="T7" fmla="*/ 149 h 288"/>
                <a:gd name="T8" fmla="+- 0 5993 5993"/>
                <a:gd name="T9" fmla="*/ T8 w 511"/>
                <a:gd name="T10" fmla="+- 0 436 149"/>
                <a:gd name="T11" fmla="*/ 436 h 288"/>
                <a:gd name="T12" fmla="+- 0 6504 5993"/>
                <a:gd name="T13" fmla="*/ T12 w 511"/>
                <a:gd name="T14" fmla="+- 0 436 149"/>
                <a:gd name="T15" fmla="*/ 436 h 288"/>
                <a:gd name="T16" fmla="+- 0 6502 5993"/>
                <a:gd name="T17" fmla="*/ T16 w 511"/>
                <a:gd name="T18" fmla="+- 0 418 149"/>
                <a:gd name="T19" fmla="*/ 418 h 288"/>
                <a:gd name="T20" fmla="+- 0 6014 5993"/>
                <a:gd name="T21" fmla="*/ T20 w 511"/>
                <a:gd name="T22" fmla="+- 0 418 149"/>
                <a:gd name="T23" fmla="*/ 418 h 288"/>
                <a:gd name="T24" fmla="+- 0 6046 5993"/>
                <a:gd name="T25" fmla="*/ T24 w 511"/>
                <a:gd name="T26" fmla="+- 0 167 149"/>
                <a:gd name="T27" fmla="*/ 167 h 288"/>
                <a:gd name="T28" fmla="+- 0 6136 5993"/>
                <a:gd name="T29" fmla="*/ T28 w 511"/>
                <a:gd name="T30" fmla="+- 0 167 149"/>
                <a:gd name="T31" fmla="*/ 167 h 288"/>
                <a:gd name="T32" fmla="+- 0 6140 5993"/>
                <a:gd name="T33" fmla="*/ T32 w 511"/>
                <a:gd name="T34" fmla="+- 0 163 149"/>
                <a:gd name="T35" fmla="*/ 163 h 288"/>
                <a:gd name="T36" fmla="+- 0 6140 5993"/>
                <a:gd name="T37" fmla="*/ T36 w 511"/>
                <a:gd name="T38" fmla="+- 0 153 149"/>
                <a:gd name="T39" fmla="*/ 153 h 288"/>
                <a:gd name="T40" fmla="+- 0 6136 5993"/>
                <a:gd name="T41" fmla="*/ T40 w 511"/>
                <a:gd name="T42" fmla="+- 0 149 149"/>
                <a:gd name="T43" fmla="*/ 149 h 288"/>
                <a:gd name="T44" fmla="+- 0 6473 5993"/>
                <a:gd name="T45" fmla="*/ T44 w 511"/>
                <a:gd name="T46" fmla="+- 0 149 149"/>
                <a:gd name="T47" fmla="*/ 149 h 288"/>
                <a:gd name="T48" fmla="+- 0 6367 5993"/>
                <a:gd name="T49" fmla="*/ T48 w 511"/>
                <a:gd name="T50" fmla="+- 0 149 149"/>
                <a:gd name="T51" fmla="*/ 149 h 288"/>
                <a:gd name="T52" fmla="+- 0 6363 5993"/>
                <a:gd name="T53" fmla="*/ T52 w 511"/>
                <a:gd name="T54" fmla="+- 0 153 149"/>
                <a:gd name="T55" fmla="*/ 153 h 288"/>
                <a:gd name="T56" fmla="+- 0 6363 5993"/>
                <a:gd name="T57" fmla="*/ T56 w 511"/>
                <a:gd name="T58" fmla="+- 0 163 149"/>
                <a:gd name="T59" fmla="*/ 163 h 288"/>
                <a:gd name="T60" fmla="+- 0 6367 5993"/>
                <a:gd name="T61" fmla="*/ T60 w 511"/>
                <a:gd name="T62" fmla="+- 0 167 149"/>
                <a:gd name="T63" fmla="*/ 167 h 288"/>
                <a:gd name="T64" fmla="+- 0 6456 5993"/>
                <a:gd name="T65" fmla="*/ T64 w 511"/>
                <a:gd name="T66" fmla="+- 0 167 149"/>
                <a:gd name="T67" fmla="*/ 167 h 288"/>
                <a:gd name="T68" fmla="+- 0 6483 5993"/>
                <a:gd name="T69" fmla="*/ T68 w 511"/>
                <a:gd name="T70" fmla="+- 0 418 149"/>
                <a:gd name="T71" fmla="*/ 418 h 288"/>
                <a:gd name="T72" fmla="+- 0 6502 5993"/>
                <a:gd name="T73" fmla="*/ T72 w 511"/>
                <a:gd name="T74" fmla="+- 0 418 149"/>
                <a:gd name="T75" fmla="*/ 418 h 288"/>
                <a:gd name="T76" fmla="+- 0 6473 5993"/>
                <a:gd name="T77" fmla="*/ T76 w 511"/>
                <a:gd name="T78" fmla="+- 0 149 149"/>
                <a:gd name="T79" fmla="*/ 149 h 2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</a:cxnLst>
              <a:rect l="0" t="0" r="r" b="b"/>
              <a:pathLst>
                <a:path w="511" h="288">
                  <a:moveTo>
                    <a:pt x="143" y="0"/>
                  </a:moveTo>
                  <a:lnTo>
                    <a:pt x="37" y="0"/>
                  </a:lnTo>
                  <a:lnTo>
                    <a:pt x="0" y="287"/>
                  </a:lnTo>
                  <a:lnTo>
                    <a:pt x="511" y="287"/>
                  </a:lnTo>
                  <a:lnTo>
                    <a:pt x="509" y="269"/>
                  </a:lnTo>
                  <a:lnTo>
                    <a:pt x="21" y="269"/>
                  </a:lnTo>
                  <a:lnTo>
                    <a:pt x="53" y="18"/>
                  </a:lnTo>
                  <a:lnTo>
                    <a:pt x="143" y="18"/>
                  </a:lnTo>
                  <a:lnTo>
                    <a:pt x="147" y="14"/>
                  </a:lnTo>
                  <a:lnTo>
                    <a:pt x="147" y="4"/>
                  </a:lnTo>
                  <a:lnTo>
                    <a:pt x="143" y="0"/>
                  </a:lnTo>
                  <a:close/>
                  <a:moveTo>
                    <a:pt x="480" y="0"/>
                  </a:moveTo>
                  <a:lnTo>
                    <a:pt x="374" y="0"/>
                  </a:lnTo>
                  <a:lnTo>
                    <a:pt x="370" y="4"/>
                  </a:lnTo>
                  <a:lnTo>
                    <a:pt x="370" y="14"/>
                  </a:lnTo>
                  <a:lnTo>
                    <a:pt x="374" y="18"/>
                  </a:lnTo>
                  <a:lnTo>
                    <a:pt x="463" y="18"/>
                  </a:lnTo>
                  <a:lnTo>
                    <a:pt x="490" y="269"/>
                  </a:lnTo>
                  <a:lnTo>
                    <a:pt x="509" y="269"/>
                  </a:lnTo>
                  <a:lnTo>
                    <a:pt x="480" y="0"/>
                  </a:lnTo>
                  <a:close/>
                </a:path>
              </a:pathLst>
            </a:custGeom>
            <a:solidFill>
              <a:srgbClr val="1F55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pic>
          <p:nvPicPr>
            <p:cNvPr id="61" name="Picture 17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55" y="-56"/>
              <a:ext cx="391" cy="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Text Box 18"/>
          <p:cNvSpPr txBox="1">
            <a:spLocks noChangeArrowheads="1"/>
          </p:cNvSpPr>
          <p:nvPr/>
        </p:nvSpPr>
        <p:spPr bwMode="auto">
          <a:xfrm>
            <a:off x="2877142" y="4614801"/>
            <a:ext cx="52025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40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4917986" y="2526931"/>
            <a:ext cx="3006058" cy="287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5300">
              <a:lnSpc>
                <a:spcPct val="136000"/>
              </a:lnSpc>
            </a:pPr>
            <a:r>
              <a:rPr lang="ru-RU" sz="1050" b="1" dirty="0" smtClean="0">
                <a:solidFill>
                  <a:srgbClr val="2E3232"/>
                </a:solidFill>
                <a:latin typeface="Arial"/>
                <a:ea typeface="Arial"/>
              </a:rPr>
              <a:t>ПРОЕКТОВ ВОДООТВЕДЕНИЯ</a:t>
            </a:r>
            <a:endParaRPr lang="ru-RU" sz="1050" dirty="0">
              <a:latin typeface="Arial"/>
              <a:ea typeface="Arial"/>
            </a:endParaRPr>
          </a:p>
        </p:txBody>
      </p:sp>
      <p:sp>
        <p:nvSpPr>
          <p:cNvPr id="64" name="Text Box 18"/>
          <p:cNvSpPr txBox="1">
            <a:spLocks noChangeArrowheads="1"/>
          </p:cNvSpPr>
          <p:nvPr/>
        </p:nvSpPr>
        <p:spPr bwMode="auto">
          <a:xfrm>
            <a:off x="4394099" y="2480474"/>
            <a:ext cx="674456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38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836077" y="3208880"/>
            <a:ext cx="2943664" cy="322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95300">
              <a:lnSpc>
                <a:spcPct val="136000"/>
              </a:lnSpc>
              <a:spcBef>
                <a:spcPts val="5"/>
              </a:spcBef>
            </a:pPr>
            <a:r>
              <a:rPr lang="ru-RU" sz="1100" b="1" dirty="0" smtClean="0">
                <a:solidFill>
                  <a:srgbClr val="2E3232"/>
                </a:solidFill>
                <a:latin typeface="Arial"/>
                <a:ea typeface="Arial"/>
              </a:rPr>
              <a:t>ПРОЕКТ ТЕПЛОСНАБЖЕНИЯ</a:t>
            </a:r>
            <a:endParaRPr lang="ru-RU" sz="1100" dirty="0">
              <a:latin typeface="Arial"/>
              <a:ea typeface="Arial"/>
            </a:endParaRPr>
          </a:p>
        </p:txBody>
      </p:sp>
      <p:sp>
        <p:nvSpPr>
          <p:cNvPr id="66" name="Text Box 18"/>
          <p:cNvSpPr txBox="1">
            <a:spLocks noChangeArrowheads="1"/>
          </p:cNvSpPr>
          <p:nvPr/>
        </p:nvSpPr>
        <p:spPr bwMode="auto">
          <a:xfrm>
            <a:off x="3307700" y="3166795"/>
            <a:ext cx="58692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51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988703" y="953285"/>
            <a:ext cx="4183624" cy="1222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endParaRPr lang="ru-RU" sz="800" b="1" dirty="0" smtClean="0">
              <a:solidFill>
                <a:srgbClr val="2E3232"/>
              </a:solidFill>
              <a:latin typeface="Arial"/>
              <a:ea typeface="Arial"/>
            </a:endParaRP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ОБЩАЯ </a:t>
            </a: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СТОИМОСТЬ ПРОЕКТОВ</a:t>
            </a: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endParaRPr lang="ru-RU" sz="800" b="1" dirty="0" smtClean="0">
              <a:solidFill>
                <a:srgbClr val="2E3232"/>
              </a:solidFill>
              <a:latin typeface="Arial"/>
              <a:ea typeface="Arial"/>
            </a:endParaRP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endParaRPr lang="ru-RU" sz="800" b="1" dirty="0" smtClean="0">
              <a:solidFill>
                <a:srgbClr val="2E3232"/>
              </a:solidFill>
              <a:latin typeface="Arial"/>
              <a:ea typeface="Arial"/>
            </a:endParaRPr>
          </a:p>
          <a:p>
            <a:pPr marL="1513840" marR="495300">
              <a:lnSpc>
                <a:spcPct val="136000"/>
              </a:lnSpc>
              <a:spcBef>
                <a:spcPts val="5"/>
              </a:spcBef>
            </a:pPr>
            <a:r>
              <a:rPr lang="ru-RU" sz="1000" b="1" dirty="0" smtClean="0">
                <a:solidFill>
                  <a:srgbClr val="2E3232"/>
                </a:solidFill>
                <a:latin typeface="Arial"/>
                <a:ea typeface="Arial"/>
              </a:rPr>
              <a:t>СРЕДСТВА ФОНДА ЖКХ</a:t>
            </a:r>
          </a:p>
        </p:txBody>
      </p:sp>
      <p:sp>
        <p:nvSpPr>
          <p:cNvPr id="68" name="Text Box 13"/>
          <p:cNvSpPr txBox="1">
            <a:spLocks noChangeArrowheads="1"/>
          </p:cNvSpPr>
          <p:nvPr/>
        </p:nvSpPr>
        <p:spPr bwMode="auto">
          <a:xfrm>
            <a:off x="1183177" y="1107298"/>
            <a:ext cx="2062531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20,45 </a:t>
            </a:r>
            <a:r>
              <a:rPr lang="ru-RU" sz="12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млрд.руб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Text Box 13"/>
          <p:cNvSpPr txBox="1">
            <a:spLocks noChangeArrowheads="1"/>
          </p:cNvSpPr>
          <p:nvPr/>
        </p:nvSpPr>
        <p:spPr bwMode="auto">
          <a:xfrm>
            <a:off x="1191414" y="1725590"/>
            <a:ext cx="2120195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11,36 </a:t>
            </a:r>
            <a:r>
              <a:rPr lang="ru-RU" sz="1200" dirty="0" smtClean="0">
                <a:solidFill>
                  <a:srgbClr val="1F559A"/>
                </a:solidFill>
                <a:latin typeface="Arial Black" pitchFamily="34" charset="0"/>
                <a:cs typeface="Arial" pitchFamily="34" charset="0"/>
              </a:rPr>
              <a:t>млрд.руб.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33697" y="5486779"/>
            <a:ext cx="116429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  <a:defRPr sz="1100" b="1" i="0" u="none" strike="noStrike" kern="1200" baseline="0">
                <a:solidFill>
                  <a:prstClr val="black"/>
                </a:solidFill>
                <a:latin typeface="Georgia" pitchFamily="18" charset="0"/>
                <a:ea typeface="+mn-ea"/>
                <a:cs typeface="+mn-cs"/>
              </a:defRPr>
            </a:pPr>
            <a:r>
              <a:rPr lang="ru-RU" sz="1200" dirty="0" smtClean="0">
                <a:solidFill>
                  <a:srgbClr val="99CC00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-  по предварительной информации, поступившей в Фонд от субъектов РФ на 10 марта 2020 года (заявки по проектам в Фонд еще не оформлены)</a:t>
            </a:r>
          </a:p>
          <a:p>
            <a:pPr>
              <a:buFont typeface="Arial" pitchFamily="34" charset="0"/>
              <a:buChar char="•"/>
              <a:defRPr sz="1100" b="1" i="0" u="none" strike="noStrike" kern="1200" baseline="0">
                <a:solidFill>
                  <a:prstClr val="black"/>
                </a:solidFill>
                <a:latin typeface="Georgia" pitchFamily="18" charset="0"/>
                <a:ea typeface="+mn-ea"/>
                <a:cs typeface="+mn-cs"/>
              </a:defRPr>
            </a:pPr>
            <a:endParaRPr lang="ru-RU" sz="1200" dirty="0" smtClean="0">
              <a:solidFill>
                <a:srgbClr val="99CC00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  <a:p>
            <a:r>
              <a:rPr lang="ru-RU" sz="1400" b="1" dirty="0" smtClean="0">
                <a:solidFill>
                  <a:schemeClr val="accent4">
                    <a:lumMod val="75000"/>
                  </a:schemeClr>
                </a:solidFill>
              </a:rPr>
              <a:t>Нераспределенный остаток средств общего лимита средств на модернизацию – 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</a:rPr>
              <a:t>8 815 636 тыс. рублей</a:t>
            </a:r>
            <a:endParaRPr lang="ru-RU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7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8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833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5"/>
          <p:cNvSpPr txBox="1"/>
          <p:nvPr/>
        </p:nvSpPr>
        <p:spPr>
          <a:xfrm>
            <a:off x="469102" y="206961"/>
            <a:ext cx="10909180" cy="5474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/>
          <a:lstStyle>
            <a:lvl1pPr>
              <a:defRPr sz="2500" b="1">
                <a:solidFill>
                  <a:schemeClr val="accent1">
                    <a:satOff val="-3547"/>
                    <a:lumOff val="-10352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2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риоритеты Фонда ЖКХ как Института развития </a:t>
            </a:r>
          </a:p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22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оциальной инфраструктуры при </a:t>
            </a:r>
            <a:r>
              <a:rPr lang="ru-RU" sz="22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финансировании </a:t>
            </a:r>
            <a:r>
              <a:rPr lang="ru-RU" sz="2200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роектов</a:t>
            </a:r>
            <a:endParaRPr lang="ru-RU" sz="2200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51" name="Прямоугольник"/>
          <p:cNvSpPr/>
          <p:nvPr/>
        </p:nvSpPr>
        <p:spPr>
          <a:xfrm>
            <a:off x="733842" y="1141434"/>
            <a:ext cx="2609433" cy="1511144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52" name="TextBox 9"/>
          <p:cNvSpPr txBox="1"/>
          <p:nvPr/>
        </p:nvSpPr>
        <p:spPr>
          <a:xfrm>
            <a:off x="1147197" y="1487299"/>
            <a:ext cx="1759318" cy="707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20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Социальный эффект</a:t>
            </a:r>
            <a:r>
              <a:rPr sz="20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endParaRPr sz="20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3" name="Прямоугольник"/>
          <p:cNvSpPr/>
          <p:nvPr/>
        </p:nvSpPr>
        <p:spPr>
          <a:xfrm>
            <a:off x="719987" y="3808135"/>
            <a:ext cx="2609433" cy="765146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59" name="TextBox 9"/>
          <p:cNvSpPr txBox="1"/>
          <p:nvPr/>
        </p:nvSpPr>
        <p:spPr>
          <a:xfrm>
            <a:off x="1109436" y="3814726"/>
            <a:ext cx="1708657" cy="584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600" dirty="0" smtClean="0"/>
              <a:t>Экологический эффект</a:t>
            </a:r>
            <a:endParaRPr sz="1600" dirty="0"/>
          </a:p>
        </p:txBody>
      </p:sp>
      <p:sp>
        <p:nvSpPr>
          <p:cNvPr id="69" name="Прямоугольник"/>
          <p:cNvSpPr/>
          <p:nvPr/>
        </p:nvSpPr>
        <p:spPr>
          <a:xfrm>
            <a:off x="733842" y="2906405"/>
            <a:ext cx="2609433" cy="665055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sz="1600" dirty="0"/>
          </a:p>
        </p:txBody>
      </p:sp>
      <p:sp>
        <p:nvSpPr>
          <p:cNvPr id="71" name="TextBox 9"/>
          <p:cNvSpPr txBox="1"/>
          <p:nvPr/>
        </p:nvSpPr>
        <p:spPr>
          <a:xfrm>
            <a:off x="875558" y="3021571"/>
            <a:ext cx="2244436" cy="338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600" dirty="0" smtClean="0"/>
              <a:t>Ресурсосбережение</a:t>
            </a:r>
            <a:endParaRPr sz="1600" dirty="0"/>
          </a:p>
        </p:txBody>
      </p:sp>
      <p:sp>
        <p:nvSpPr>
          <p:cNvPr id="72" name="Прямоугольник"/>
          <p:cNvSpPr/>
          <p:nvPr/>
        </p:nvSpPr>
        <p:spPr>
          <a:xfrm>
            <a:off x="723635" y="4854504"/>
            <a:ext cx="2609433" cy="700368"/>
          </a:xfrm>
          <a:prstGeom prst="rect">
            <a:avLst/>
          </a:prstGeom>
          <a:solidFill>
            <a:schemeClr val="accent1">
              <a:satOff val="-3547"/>
              <a:lumOff val="-10352"/>
            </a:schemeClr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/>
            <a:endParaRPr dirty="0"/>
          </a:p>
        </p:txBody>
      </p:sp>
      <p:sp>
        <p:nvSpPr>
          <p:cNvPr id="73" name="TextBox 9"/>
          <p:cNvSpPr txBox="1"/>
          <p:nvPr/>
        </p:nvSpPr>
        <p:spPr>
          <a:xfrm>
            <a:off x="1103559" y="4854504"/>
            <a:ext cx="1708657" cy="584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2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ru-RU" sz="1600" dirty="0" smtClean="0"/>
              <a:t>Экономический эффект</a:t>
            </a:r>
            <a:endParaRPr lang="ru-RU" sz="1600" dirty="0"/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714375" y="2792106"/>
            <a:ext cx="11068050" cy="1"/>
          </a:xfrm>
          <a:prstGeom prst="line">
            <a:avLst/>
          </a:prstGeom>
          <a:noFill/>
          <a:ln w="9525" cap="flat">
            <a:solidFill>
              <a:schemeClr val="accent1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714375" y="3677931"/>
            <a:ext cx="11068050" cy="1"/>
          </a:xfrm>
          <a:prstGeom prst="line">
            <a:avLst/>
          </a:prstGeom>
          <a:noFill/>
          <a:ln w="9525" cap="flat">
            <a:solidFill>
              <a:schemeClr val="accent1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742950" y="4708434"/>
            <a:ext cx="11068050" cy="1"/>
          </a:xfrm>
          <a:prstGeom prst="line">
            <a:avLst/>
          </a:prstGeom>
          <a:noFill/>
          <a:ln w="9525" cap="flat">
            <a:solidFill>
              <a:schemeClr val="accent1"/>
            </a:solidFill>
            <a:prstDash val="dash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7" name="TextBox 9"/>
          <p:cNvSpPr txBox="1"/>
          <p:nvPr/>
        </p:nvSpPr>
        <p:spPr>
          <a:xfrm>
            <a:off x="3593258" y="1128692"/>
            <a:ext cx="8145662" cy="14773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Повышение качества жизни населения путем повышения надежности и качества работы коммунальных систем 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Восстановление непригодных к эксплуатации систем теплоснабжения и водоотведения  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Увеличение мощностей для развития новых территорий (в т.ч. для переселения из аварийного жилья)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Недопущение резкого роста платы граждан за коммунальные услуги</a:t>
            </a:r>
          </a:p>
        </p:txBody>
      </p:sp>
      <p:sp>
        <p:nvSpPr>
          <p:cNvPr id="78" name="TextBox 9"/>
          <p:cNvSpPr txBox="1"/>
          <p:nvPr/>
        </p:nvSpPr>
        <p:spPr>
          <a:xfrm>
            <a:off x="3597373" y="3052233"/>
            <a:ext cx="7786029" cy="3351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Снижение энергопотребления  и потребления топливных ресурсов </a:t>
            </a:r>
          </a:p>
        </p:txBody>
      </p:sp>
      <p:sp>
        <p:nvSpPr>
          <p:cNvPr id="79" name="TextBox 9"/>
          <p:cNvSpPr txBox="1"/>
          <p:nvPr/>
        </p:nvSpPr>
        <p:spPr>
          <a:xfrm>
            <a:off x="3609730" y="3946038"/>
            <a:ext cx="7786029" cy="3351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Снижение негативного воздействия на окружающую среду</a:t>
            </a:r>
          </a:p>
        </p:txBody>
      </p:sp>
      <p:sp>
        <p:nvSpPr>
          <p:cNvPr id="80" name="TextBox 9"/>
          <p:cNvSpPr txBox="1"/>
          <p:nvPr/>
        </p:nvSpPr>
        <p:spPr>
          <a:xfrm>
            <a:off x="3593253" y="4786294"/>
            <a:ext cx="7786029" cy="9233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Снижение эксплуатационных расходов  коммунальных предприятий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 sz="1200">
                <a:solidFill>
                  <a:srgbClr val="434D5D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Предотвращение сверхнормативных затрат на ликвидацию последствий аварий и экологических катастроф</a:t>
            </a:r>
          </a:p>
        </p:txBody>
      </p:sp>
      <p:sp>
        <p:nvSpPr>
          <p:cNvPr id="18" name="Номер слайда 2"/>
          <p:cNvSpPr txBox="1">
            <a:spLocks/>
          </p:cNvSpPr>
          <p:nvPr/>
        </p:nvSpPr>
        <p:spPr>
          <a:xfrm>
            <a:off x="10890421" y="6232782"/>
            <a:ext cx="1007076" cy="365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fld id="{BD4834B8-ECB5-45AF-8CBF-1396A7229D12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342900" marR="0" lvl="0" indent="-34290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t>9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833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7KcB9urVdpAlBwNiBD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zHGySLK5_0rvjmbSwi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zHGySLK5_0rvjmbSwi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7</TotalTime>
  <Words>754</Words>
  <Application>Microsoft Office PowerPoint</Application>
  <PresentationFormat>Произвольный</PresentationFormat>
  <Paragraphs>188</Paragraphs>
  <Slides>10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Слайд think-cell</vt:lpstr>
      <vt:lpstr>Предоставление финансовой поддержки Фонда ЖКХ на реализацию проектов модернизации систем коммунальной инфраструктуры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</vt:vector>
  </TitlesOfParts>
  <Company>ПАО Сбербанк России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укова Надежда Светиславовна</dc:creator>
  <cp:lastModifiedBy>Пользователь</cp:lastModifiedBy>
  <cp:revision>18</cp:revision>
  <dcterms:created xsi:type="dcterms:W3CDTF">2020-03-05T09:12:02Z</dcterms:created>
  <dcterms:modified xsi:type="dcterms:W3CDTF">2020-03-13T06:44:44Z</dcterms:modified>
</cp:coreProperties>
</file>